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1" r:id="rId5"/>
  </p:sldMasterIdLst>
  <p:notesMasterIdLst>
    <p:notesMasterId r:id="rId54"/>
  </p:notesMasterIdLst>
  <p:sldIdLst>
    <p:sldId id="275" r:id="rId6"/>
    <p:sldId id="457" r:id="rId7"/>
    <p:sldId id="458" r:id="rId8"/>
    <p:sldId id="461" r:id="rId9"/>
    <p:sldId id="462" r:id="rId10"/>
    <p:sldId id="418" r:id="rId11"/>
    <p:sldId id="460" r:id="rId12"/>
    <p:sldId id="459" r:id="rId13"/>
    <p:sldId id="420" r:id="rId14"/>
    <p:sldId id="425" r:id="rId15"/>
    <p:sldId id="424" r:id="rId16"/>
    <p:sldId id="423" r:id="rId17"/>
    <p:sldId id="422" r:id="rId18"/>
    <p:sldId id="463" r:id="rId19"/>
    <p:sldId id="466" r:id="rId20"/>
    <p:sldId id="467" r:id="rId21"/>
    <p:sldId id="464" r:id="rId22"/>
    <p:sldId id="468" r:id="rId23"/>
    <p:sldId id="421" r:id="rId24"/>
    <p:sldId id="428" r:id="rId25"/>
    <p:sldId id="427" r:id="rId26"/>
    <p:sldId id="429" r:id="rId27"/>
    <p:sldId id="430" r:id="rId28"/>
    <p:sldId id="431" r:id="rId29"/>
    <p:sldId id="432" r:id="rId30"/>
    <p:sldId id="433" r:id="rId31"/>
    <p:sldId id="434" r:id="rId32"/>
    <p:sldId id="435" r:id="rId33"/>
    <p:sldId id="436" r:id="rId34"/>
    <p:sldId id="437" r:id="rId35"/>
    <p:sldId id="438" r:id="rId36"/>
    <p:sldId id="439" r:id="rId37"/>
    <p:sldId id="441" r:id="rId38"/>
    <p:sldId id="440" r:id="rId39"/>
    <p:sldId id="442" r:id="rId40"/>
    <p:sldId id="443" r:id="rId41"/>
    <p:sldId id="444" r:id="rId42"/>
    <p:sldId id="445" r:id="rId43"/>
    <p:sldId id="446" r:id="rId44"/>
    <p:sldId id="448" r:id="rId45"/>
    <p:sldId id="447" r:id="rId46"/>
    <p:sldId id="450" r:id="rId47"/>
    <p:sldId id="451" r:id="rId48"/>
    <p:sldId id="453" r:id="rId49"/>
    <p:sldId id="454" r:id="rId50"/>
    <p:sldId id="455" r:id="rId51"/>
    <p:sldId id="456" r:id="rId52"/>
    <p:sldId id="311" r:id="rId53"/>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23" d="100"/>
          <a:sy n="23" d="100"/>
        </p:scale>
        <p:origin x="624" y="24"/>
      </p:cViewPr>
      <p:guideLst>
        <p:guide orient="horz" pos="4320"/>
        <p:guide pos="76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3DC4B4-65ED-43BD-8EBC-12AA9A93E67A}"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9B5C163B-CBC0-4924-8D57-DA43B2CD7478}">
      <dgm:prSet phldrT="[Текст]"/>
      <dgm:spPr/>
      <dgm:t>
        <a:bodyPr/>
        <a:lstStyle/>
        <a:p>
          <a:pPr algn="ctr"/>
          <a:r>
            <a:rPr lang="uk-UA" i="1" dirty="0"/>
            <a:t>Спікер Анастасія Сербіна, адвокат, </a:t>
          </a:r>
          <a:r>
            <a:rPr lang="uk-UA" b="0" i="1" dirty="0"/>
            <a:t>консультантка Програми </a:t>
          </a:r>
          <a:r>
            <a:rPr lang="en-US" b="0" i="1" dirty="0"/>
            <a:t>DOBRE</a:t>
          </a:r>
          <a:endParaRPr lang="ru-UA" i="1" dirty="0"/>
        </a:p>
      </dgm:t>
    </dgm:pt>
    <dgm:pt modelId="{3C11B514-3120-4177-B1E6-C9463C0910B4}" type="parTrans" cxnId="{5FF262CD-A5F5-4254-AB9A-92D978AB6685}">
      <dgm:prSet/>
      <dgm:spPr/>
      <dgm:t>
        <a:bodyPr/>
        <a:lstStyle/>
        <a:p>
          <a:endParaRPr lang="ru-UA"/>
        </a:p>
      </dgm:t>
    </dgm:pt>
    <dgm:pt modelId="{CA3C8844-992C-4A95-9CD8-410ED9E9E439}" type="sibTrans" cxnId="{5FF262CD-A5F5-4254-AB9A-92D978AB6685}">
      <dgm:prSet/>
      <dgm:spPr/>
      <dgm:t>
        <a:bodyPr/>
        <a:lstStyle/>
        <a:p>
          <a:endParaRPr lang="ru-UA"/>
        </a:p>
      </dgm:t>
    </dgm:pt>
    <dgm:pt modelId="{ED721A25-2A4A-410A-9AE1-578F8A30714A}" type="pres">
      <dgm:prSet presAssocID="{B93DC4B4-65ED-43BD-8EBC-12AA9A93E67A}" presName="vert0" presStyleCnt="0">
        <dgm:presLayoutVars>
          <dgm:dir/>
          <dgm:animOne val="branch"/>
          <dgm:animLvl val="lvl"/>
        </dgm:presLayoutVars>
      </dgm:prSet>
      <dgm:spPr/>
      <dgm:t>
        <a:bodyPr/>
        <a:lstStyle/>
        <a:p>
          <a:endParaRPr lang="en-US"/>
        </a:p>
      </dgm:t>
    </dgm:pt>
    <dgm:pt modelId="{9C9C4CBB-0E1C-42EC-A584-020C3209EF08}" type="pres">
      <dgm:prSet presAssocID="{9B5C163B-CBC0-4924-8D57-DA43B2CD7478}" presName="thickLine" presStyleLbl="alignNode1" presStyleIdx="0" presStyleCnt="1"/>
      <dgm:spPr/>
    </dgm:pt>
    <dgm:pt modelId="{E627B3DC-B33C-4BEF-8C50-C6B2E40ABF85}" type="pres">
      <dgm:prSet presAssocID="{9B5C163B-CBC0-4924-8D57-DA43B2CD7478}" presName="horz1" presStyleCnt="0"/>
      <dgm:spPr/>
    </dgm:pt>
    <dgm:pt modelId="{CC5D6AC5-1B98-4597-8AA5-F35B77451A38}" type="pres">
      <dgm:prSet presAssocID="{9B5C163B-CBC0-4924-8D57-DA43B2CD7478}" presName="tx1" presStyleLbl="revTx" presStyleIdx="0" presStyleCnt="1" custScaleY="36790"/>
      <dgm:spPr/>
      <dgm:t>
        <a:bodyPr/>
        <a:lstStyle/>
        <a:p>
          <a:endParaRPr lang="en-US"/>
        </a:p>
      </dgm:t>
    </dgm:pt>
    <dgm:pt modelId="{241E1864-C89B-4CA2-8E76-FE841FB9098E}" type="pres">
      <dgm:prSet presAssocID="{9B5C163B-CBC0-4924-8D57-DA43B2CD7478}" presName="vert1" presStyleCnt="0"/>
      <dgm:spPr/>
    </dgm:pt>
  </dgm:ptLst>
  <dgm:cxnLst>
    <dgm:cxn modelId="{D6EA7B25-10DE-482B-8865-F687BC901C9A}" type="presOf" srcId="{B93DC4B4-65ED-43BD-8EBC-12AA9A93E67A}" destId="{ED721A25-2A4A-410A-9AE1-578F8A30714A}" srcOrd="0" destOrd="0" presId="urn:microsoft.com/office/officeart/2008/layout/LinedList"/>
    <dgm:cxn modelId="{5FF262CD-A5F5-4254-AB9A-92D978AB6685}" srcId="{B93DC4B4-65ED-43BD-8EBC-12AA9A93E67A}" destId="{9B5C163B-CBC0-4924-8D57-DA43B2CD7478}" srcOrd="0" destOrd="0" parTransId="{3C11B514-3120-4177-B1E6-C9463C0910B4}" sibTransId="{CA3C8844-992C-4A95-9CD8-410ED9E9E439}"/>
    <dgm:cxn modelId="{6103CD3F-223B-4A6D-87C5-EED22B36C74B}" type="presOf" srcId="{9B5C163B-CBC0-4924-8D57-DA43B2CD7478}" destId="{CC5D6AC5-1B98-4597-8AA5-F35B77451A38}" srcOrd="0" destOrd="0" presId="urn:microsoft.com/office/officeart/2008/layout/LinedList"/>
    <dgm:cxn modelId="{126000C2-B804-4BFB-BF5F-9129270D2F03}" type="presParOf" srcId="{ED721A25-2A4A-410A-9AE1-578F8A30714A}" destId="{9C9C4CBB-0E1C-42EC-A584-020C3209EF08}" srcOrd="0" destOrd="0" presId="urn:microsoft.com/office/officeart/2008/layout/LinedList"/>
    <dgm:cxn modelId="{FCF33E69-3BD9-4878-8C8B-CD50249F196B}" type="presParOf" srcId="{ED721A25-2A4A-410A-9AE1-578F8A30714A}" destId="{E627B3DC-B33C-4BEF-8C50-C6B2E40ABF85}" srcOrd="1" destOrd="0" presId="urn:microsoft.com/office/officeart/2008/layout/LinedList"/>
    <dgm:cxn modelId="{561E5F4F-9C10-4EE2-8E5A-110858A6F976}" type="presParOf" srcId="{E627B3DC-B33C-4BEF-8C50-C6B2E40ABF85}" destId="{CC5D6AC5-1B98-4597-8AA5-F35B77451A38}" srcOrd="0" destOrd="0" presId="urn:microsoft.com/office/officeart/2008/layout/LinedList"/>
    <dgm:cxn modelId="{AEA328AD-CFE4-45A4-9400-D030DAE1BD9E}" type="presParOf" srcId="{E627B3DC-B33C-4BEF-8C50-C6B2E40ABF85}" destId="{241E1864-C89B-4CA2-8E76-FE841FB9098E}" srcOrd="1"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5FFB602-5517-455F-A57F-64EFEF6B2656}" type="doc">
      <dgm:prSet loTypeId="urn:microsoft.com/office/officeart/2005/8/layout/vList4" loCatId="list" qsTypeId="urn:microsoft.com/office/officeart/2005/8/quickstyle/simple3" qsCatId="simple" csTypeId="urn:microsoft.com/office/officeart/2005/8/colors/accent1_2" csCatId="accent1" phldr="1"/>
      <dgm:spPr/>
      <dgm:t>
        <a:bodyPr/>
        <a:lstStyle/>
        <a:p>
          <a:endParaRPr lang="ru-UA"/>
        </a:p>
      </dgm:t>
    </dgm:pt>
    <dgm:pt modelId="{7E7EF338-F1C0-4AB7-B004-298946FB2DCA}">
      <dgm:prSet phldrT="[Текст]"/>
      <dgm:spPr/>
      <dgm:t>
        <a:bodyPr/>
        <a:lstStyle/>
        <a:p>
          <a:r>
            <a:rPr lang="uk-UA" b="0" i="0" noProof="0" dirty="0"/>
            <a:t>Випробування не встановлюється при прийнятті на роботу ВПО</a:t>
          </a:r>
        </a:p>
        <a:p>
          <a:r>
            <a:rPr lang="uk-UA" b="0" i="0" noProof="0" dirty="0"/>
            <a:t>(ст. 26 КЗпП)</a:t>
          </a:r>
          <a:endParaRPr lang="uk-UA" noProof="0" dirty="0"/>
        </a:p>
      </dgm:t>
    </dgm:pt>
    <dgm:pt modelId="{1D881DCA-9310-4A83-8803-A0B38D409E80}" type="parTrans" cxnId="{4F5CD522-7ACB-4DBE-BC08-1EF64DF65966}">
      <dgm:prSet/>
      <dgm:spPr/>
      <dgm:t>
        <a:bodyPr/>
        <a:lstStyle/>
        <a:p>
          <a:endParaRPr lang="ru-UA"/>
        </a:p>
      </dgm:t>
    </dgm:pt>
    <dgm:pt modelId="{B6C53E52-1B01-4CD0-BA31-E6F4E27E4ADA}" type="sibTrans" cxnId="{4F5CD522-7ACB-4DBE-BC08-1EF64DF65966}">
      <dgm:prSet/>
      <dgm:spPr/>
      <dgm:t>
        <a:bodyPr/>
        <a:lstStyle/>
        <a:p>
          <a:endParaRPr lang="ru-UA"/>
        </a:p>
      </dgm:t>
    </dgm:pt>
    <dgm:pt modelId="{BD257468-832D-4EC1-85A9-F440370399DD}">
      <dgm:prSet phldrT="[Текст]"/>
      <dgm:spPr/>
      <dgm:t>
        <a:bodyPr/>
        <a:lstStyle/>
        <a:p>
          <a:r>
            <a:rPr lang="uk-UA" b="0" i="0" noProof="0" dirty="0"/>
            <a:t>При укладенні трудового договору в період дії воєнного стану умова про випробування працівника під час прийняття на роботу може встановлюватися для будь-якої категорії працівників.</a:t>
          </a:r>
        </a:p>
        <a:p>
          <a:r>
            <a:rPr lang="uk-UA" b="0" i="0" noProof="0" dirty="0"/>
            <a:t>(ст. 2 Закону 2136)</a:t>
          </a:r>
          <a:endParaRPr lang="uk-UA" noProof="0" dirty="0"/>
        </a:p>
      </dgm:t>
    </dgm:pt>
    <dgm:pt modelId="{84BE7B47-4C2E-4DD6-9A68-4CFD68833A86}" type="parTrans" cxnId="{C7238385-A979-40F2-9850-5CD26A010678}">
      <dgm:prSet/>
      <dgm:spPr/>
      <dgm:t>
        <a:bodyPr/>
        <a:lstStyle/>
        <a:p>
          <a:endParaRPr lang="ru-UA"/>
        </a:p>
      </dgm:t>
    </dgm:pt>
    <dgm:pt modelId="{0F64B94D-CBC1-42BD-ADA0-B3EDBB41ACFA}" type="sibTrans" cxnId="{C7238385-A979-40F2-9850-5CD26A010678}">
      <dgm:prSet/>
      <dgm:spPr/>
      <dgm:t>
        <a:bodyPr/>
        <a:lstStyle/>
        <a:p>
          <a:endParaRPr lang="ru-UA"/>
        </a:p>
      </dgm:t>
    </dgm:pt>
    <dgm:pt modelId="{7E5030C5-CEFD-46CB-9070-6E7FD32F2FE6}">
      <dgm:prSet phldrT="[Текст]"/>
      <dgm:spPr/>
      <dgm:t>
        <a:bodyPr/>
        <a:lstStyle/>
        <a:p>
          <a:r>
            <a:rPr lang="uk-UA" b="0" i="0" noProof="0" dirty="0"/>
            <a:t>Строк випробування при прийнятті на роботу, якщо інше не встановлено законодавством України, не може перевищувати трьох місяців, а в окремих випадках, за погодженням з відповідним виборним органом первинної профспілкової організації, – шести місяців. Строк випробування при прийнятті на роботу робітників не може перевищувати одного місяця.</a:t>
          </a:r>
        </a:p>
        <a:p>
          <a:r>
            <a:rPr lang="uk-UA" b="0" i="0" noProof="0" dirty="0"/>
            <a:t>(ст. 27 КЗпП)</a:t>
          </a:r>
          <a:endParaRPr lang="uk-UA" noProof="0" dirty="0"/>
        </a:p>
      </dgm:t>
    </dgm:pt>
    <dgm:pt modelId="{8F66D846-4164-4BF0-B374-47FC07F5C949}" type="parTrans" cxnId="{32B93A5A-2BF1-49F5-A345-2D1EA5F60F21}">
      <dgm:prSet/>
      <dgm:spPr/>
      <dgm:t>
        <a:bodyPr/>
        <a:lstStyle/>
        <a:p>
          <a:endParaRPr lang="ru-UA"/>
        </a:p>
      </dgm:t>
    </dgm:pt>
    <dgm:pt modelId="{F3209829-8FA8-49C2-A984-6CB1C47553D7}" type="sibTrans" cxnId="{32B93A5A-2BF1-49F5-A345-2D1EA5F60F21}">
      <dgm:prSet/>
      <dgm:spPr/>
      <dgm:t>
        <a:bodyPr/>
        <a:lstStyle/>
        <a:p>
          <a:endParaRPr lang="ru-UA"/>
        </a:p>
      </dgm:t>
    </dgm:pt>
    <dgm:pt modelId="{9AC41908-5E6B-4DEE-A365-E5D44DD62DFB}" type="pres">
      <dgm:prSet presAssocID="{F5FFB602-5517-455F-A57F-64EFEF6B2656}" presName="linear" presStyleCnt="0">
        <dgm:presLayoutVars>
          <dgm:dir/>
          <dgm:resizeHandles val="exact"/>
        </dgm:presLayoutVars>
      </dgm:prSet>
      <dgm:spPr/>
      <dgm:t>
        <a:bodyPr/>
        <a:lstStyle/>
        <a:p>
          <a:endParaRPr lang="en-US"/>
        </a:p>
      </dgm:t>
    </dgm:pt>
    <dgm:pt modelId="{6D1511AC-D731-48AA-9CBE-EBBEF5F556AF}" type="pres">
      <dgm:prSet presAssocID="{7E7EF338-F1C0-4AB7-B004-298946FB2DCA}" presName="comp" presStyleCnt="0"/>
      <dgm:spPr/>
    </dgm:pt>
    <dgm:pt modelId="{700CCA13-D3F8-4673-B2FB-002CF17EA526}" type="pres">
      <dgm:prSet presAssocID="{7E7EF338-F1C0-4AB7-B004-298946FB2DCA}" presName="box" presStyleLbl="node1" presStyleIdx="0" presStyleCnt="3"/>
      <dgm:spPr/>
      <dgm:t>
        <a:bodyPr/>
        <a:lstStyle/>
        <a:p>
          <a:endParaRPr lang="en-US"/>
        </a:p>
      </dgm:t>
    </dgm:pt>
    <dgm:pt modelId="{FEE4ACA9-BA05-4366-B112-68B4EDD129A4}" type="pres">
      <dgm:prSet presAssocID="{7E7EF338-F1C0-4AB7-B004-298946FB2DCA}" presName="img" presStyleLbl="fgImgPlace1" presStyleIdx="0" presStyleCnt="3"/>
      <dgm:spPr/>
    </dgm:pt>
    <dgm:pt modelId="{E79C4614-9BCD-41C7-BD85-21F0C7BDC692}" type="pres">
      <dgm:prSet presAssocID="{7E7EF338-F1C0-4AB7-B004-298946FB2DCA}" presName="text" presStyleLbl="node1" presStyleIdx="0" presStyleCnt="3">
        <dgm:presLayoutVars>
          <dgm:bulletEnabled val="1"/>
        </dgm:presLayoutVars>
      </dgm:prSet>
      <dgm:spPr/>
      <dgm:t>
        <a:bodyPr/>
        <a:lstStyle/>
        <a:p>
          <a:endParaRPr lang="en-US"/>
        </a:p>
      </dgm:t>
    </dgm:pt>
    <dgm:pt modelId="{DD130BF8-B0BB-4ED6-987C-23BF90DCD120}" type="pres">
      <dgm:prSet presAssocID="{B6C53E52-1B01-4CD0-BA31-E6F4E27E4ADA}" presName="spacer" presStyleCnt="0"/>
      <dgm:spPr/>
    </dgm:pt>
    <dgm:pt modelId="{B3796655-C5F0-43BA-9B39-3AB9ED09AAAF}" type="pres">
      <dgm:prSet presAssocID="{BD257468-832D-4EC1-85A9-F440370399DD}" presName="comp" presStyleCnt="0"/>
      <dgm:spPr/>
    </dgm:pt>
    <dgm:pt modelId="{1DEC50B7-2795-4213-BC95-98D7794619A4}" type="pres">
      <dgm:prSet presAssocID="{BD257468-832D-4EC1-85A9-F440370399DD}" presName="box" presStyleLbl="node1" presStyleIdx="1" presStyleCnt="3"/>
      <dgm:spPr/>
      <dgm:t>
        <a:bodyPr/>
        <a:lstStyle/>
        <a:p>
          <a:endParaRPr lang="en-US"/>
        </a:p>
      </dgm:t>
    </dgm:pt>
    <dgm:pt modelId="{8055F1CD-D3C6-4527-A118-CB0F8325ED4F}" type="pres">
      <dgm:prSet presAssocID="{BD257468-832D-4EC1-85A9-F440370399DD}" presName="img" presStyleLbl="fgImgPlace1" presStyleIdx="1" presStyleCnt="3"/>
      <dgm:spPr/>
    </dgm:pt>
    <dgm:pt modelId="{21D64445-C0D1-4987-8BCE-5BD2B8133EB0}" type="pres">
      <dgm:prSet presAssocID="{BD257468-832D-4EC1-85A9-F440370399DD}" presName="text" presStyleLbl="node1" presStyleIdx="1" presStyleCnt="3">
        <dgm:presLayoutVars>
          <dgm:bulletEnabled val="1"/>
        </dgm:presLayoutVars>
      </dgm:prSet>
      <dgm:spPr/>
      <dgm:t>
        <a:bodyPr/>
        <a:lstStyle/>
        <a:p>
          <a:endParaRPr lang="en-US"/>
        </a:p>
      </dgm:t>
    </dgm:pt>
    <dgm:pt modelId="{C1A425B5-6AB0-4221-9BDD-6F6EFC14964E}" type="pres">
      <dgm:prSet presAssocID="{0F64B94D-CBC1-42BD-ADA0-B3EDBB41ACFA}" presName="spacer" presStyleCnt="0"/>
      <dgm:spPr/>
    </dgm:pt>
    <dgm:pt modelId="{F7C0CA57-6EE3-4F1D-B3EF-F1DEB16BDCE7}" type="pres">
      <dgm:prSet presAssocID="{7E5030C5-CEFD-46CB-9070-6E7FD32F2FE6}" presName="comp" presStyleCnt="0"/>
      <dgm:spPr/>
    </dgm:pt>
    <dgm:pt modelId="{3349C20E-6D8E-4C31-952C-B82558E440F6}" type="pres">
      <dgm:prSet presAssocID="{7E5030C5-CEFD-46CB-9070-6E7FD32F2FE6}" presName="box" presStyleLbl="node1" presStyleIdx="2" presStyleCnt="3"/>
      <dgm:spPr/>
      <dgm:t>
        <a:bodyPr/>
        <a:lstStyle/>
        <a:p>
          <a:endParaRPr lang="en-US"/>
        </a:p>
      </dgm:t>
    </dgm:pt>
    <dgm:pt modelId="{A04FDEF8-B179-4EEE-B924-9D0F613AB8F0}" type="pres">
      <dgm:prSet presAssocID="{7E5030C5-CEFD-46CB-9070-6E7FD32F2FE6}" presName="img" presStyleLbl="fgImgPlace1" presStyleIdx="2" presStyleCnt="3"/>
      <dgm:spPr/>
    </dgm:pt>
    <dgm:pt modelId="{D7A84918-4AE9-4759-82AA-C9C63F37ED47}" type="pres">
      <dgm:prSet presAssocID="{7E5030C5-CEFD-46CB-9070-6E7FD32F2FE6}" presName="text" presStyleLbl="node1" presStyleIdx="2" presStyleCnt="3">
        <dgm:presLayoutVars>
          <dgm:bulletEnabled val="1"/>
        </dgm:presLayoutVars>
      </dgm:prSet>
      <dgm:spPr/>
      <dgm:t>
        <a:bodyPr/>
        <a:lstStyle/>
        <a:p>
          <a:endParaRPr lang="en-US"/>
        </a:p>
      </dgm:t>
    </dgm:pt>
  </dgm:ptLst>
  <dgm:cxnLst>
    <dgm:cxn modelId="{FD2F997B-19BF-47D3-BA97-56D31F2158FF}" type="presOf" srcId="{7E7EF338-F1C0-4AB7-B004-298946FB2DCA}" destId="{E79C4614-9BCD-41C7-BD85-21F0C7BDC692}" srcOrd="1" destOrd="0" presId="urn:microsoft.com/office/officeart/2005/8/layout/vList4"/>
    <dgm:cxn modelId="{CBC6A991-669A-4E07-901E-CB74E52770DA}" type="presOf" srcId="{7E5030C5-CEFD-46CB-9070-6E7FD32F2FE6}" destId="{3349C20E-6D8E-4C31-952C-B82558E440F6}" srcOrd="0" destOrd="0" presId="urn:microsoft.com/office/officeart/2005/8/layout/vList4"/>
    <dgm:cxn modelId="{C7238385-A979-40F2-9850-5CD26A010678}" srcId="{F5FFB602-5517-455F-A57F-64EFEF6B2656}" destId="{BD257468-832D-4EC1-85A9-F440370399DD}" srcOrd="1" destOrd="0" parTransId="{84BE7B47-4C2E-4DD6-9A68-4CFD68833A86}" sibTransId="{0F64B94D-CBC1-42BD-ADA0-B3EDBB41ACFA}"/>
    <dgm:cxn modelId="{32B93A5A-2BF1-49F5-A345-2D1EA5F60F21}" srcId="{F5FFB602-5517-455F-A57F-64EFEF6B2656}" destId="{7E5030C5-CEFD-46CB-9070-6E7FD32F2FE6}" srcOrd="2" destOrd="0" parTransId="{8F66D846-4164-4BF0-B374-47FC07F5C949}" sibTransId="{F3209829-8FA8-49C2-A984-6CB1C47553D7}"/>
    <dgm:cxn modelId="{B5887A58-5318-4C87-8EE9-776A7B0B6E71}" type="presOf" srcId="{F5FFB602-5517-455F-A57F-64EFEF6B2656}" destId="{9AC41908-5E6B-4DEE-A365-E5D44DD62DFB}" srcOrd="0" destOrd="0" presId="urn:microsoft.com/office/officeart/2005/8/layout/vList4"/>
    <dgm:cxn modelId="{FA5E0B7C-0377-44BA-A9D6-964DDE8AE943}" type="presOf" srcId="{BD257468-832D-4EC1-85A9-F440370399DD}" destId="{21D64445-C0D1-4987-8BCE-5BD2B8133EB0}" srcOrd="1" destOrd="0" presId="urn:microsoft.com/office/officeart/2005/8/layout/vList4"/>
    <dgm:cxn modelId="{4F5CD522-7ACB-4DBE-BC08-1EF64DF65966}" srcId="{F5FFB602-5517-455F-A57F-64EFEF6B2656}" destId="{7E7EF338-F1C0-4AB7-B004-298946FB2DCA}" srcOrd="0" destOrd="0" parTransId="{1D881DCA-9310-4A83-8803-A0B38D409E80}" sibTransId="{B6C53E52-1B01-4CD0-BA31-E6F4E27E4ADA}"/>
    <dgm:cxn modelId="{5D809D1A-0C05-4815-B208-B19B7E2D95A2}" type="presOf" srcId="{7E5030C5-CEFD-46CB-9070-6E7FD32F2FE6}" destId="{D7A84918-4AE9-4759-82AA-C9C63F37ED47}" srcOrd="1" destOrd="0" presId="urn:microsoft.com/office/officeart/2005/8/layout/vList4"/>
    <dgm:cxn modelId="{DBF9635A-CF0E-44F1-9618-AA1C3D83E9F7}" type="presOf" srcId="{7E7EF338-F1C0-4AB7-B004-298946FB2DCA}" destId="{700CCA13-D3F8-4673-B2FB-002CF17EA526}" srcOrd="0" destOrd="0" presId="urn:microsoft.com/office/officeart/2005/8/layout/vList4"/>
    <dgm:cxn modelId="{B2AB0089-9B95-4C46-A467-EBA9187C8B2D}" type="presOf" srcId="{BD257468-832D-4EC1-85A9-F440370399DD}" destId="{1DEC50B7-2795-4213-BC95-98D7794619A4}" srcOrd="0" destOrd="0" presId="urn:microsoft.com/office/officeart/2005/8/layout/vList4"/>
    <dgm:cxn modelId="{ACEFA511-6F3E-4528-A178-F70AE83C1720}" type="presParOf" srcId="{9AC41908-5E6B-4DEE-A365-E5D44DD62DFB}" destId="{6D1511AC-D731-48AA-9CBE-EBBEF5F556AF}" srcOrd="0" destOrd="0" presId="urn:microsoft.com/office/officeart/2005/8/layout/vList4"/>
    <dgm:cxn modelId="{61B27DED-F38F-4896-A899-008520D65302}" type="presParOf" srcId="{6D1511AC-D731-48AA-9CBE-EBBEF5F556AF}" destId="{700CCA13-D3F8-4673-B2FB-002CF17EA526}" srcOrd="0" destOrd="0" presId="urn:microsoft.com/office/officeart/2005/8/layout/vList4"/>
    <dgm:cxn modelId="{8470F2AA-60D3-46F2-ADCD-FE75A96628D1}" type="presParOf" srcId="{6D1511AC-D731-48AA-9CBE-EBBEF5F556AF}" destId="{FEE4ACA9-BA05-4366-B112-68B4EDD129A4}" srcOrd="1" destOrd="0" presId="urn:microsoft.com/office/officeart/2005/8/layout/vList4"/>
    <dgm:cxn modelId="{D8EB594A-B73C-448E-80E0-9DD02C1BFBF4}" type="presParOf" srcId="{6D1511AC-D731-48AA-9CBE-EBBEF5F556AF}" destId="{E79C4614-9BCD-41C7-BD85-21F0C7BDC692}" srcOrd="2" destOrd="0" presId="urn:microsoft.com/office/officeart/2005/8/layout/vList4"/>
    <dgm:cxn modelId="{635CEE03-2F26-447C-AF95-AB6D2CBF9DF4}" type="presParOf" srcId="{9AC41908-5E6B-4DEE-A365-E5D44DD62DFB}" destId="{DD130BF8-B0BB-4ED6-987C-23BF90DCD120}" srcOrd="1" destOrd="0" presId="urn:microsoft.com/office/officeart/2005/8/layout/vList4"/>
    <dgm:cxn modelId="{1B5C1895-4530-442E-9513-5941EEC26A1E}" type="presParOf" srcId="{9AC41908-5E6B-4DEE-A365-E5D44DD62DFB}" destId="{B3796655-C5F0-43BA-9B39-3AB9ED09AAAF}" srcOrd="2" destOrd="0" presId="urn:microsoft.com/office/officeart/2005/8/layout/vList4"/>
    <dgm:cxn modelId="{301F8802-95AD-431D-A54C-3A4087CF5087}" type="presParOf" srcId="{B3796655-C5F0-43BA-9B39-3AB9ED09AAAF}" destId="{1DEC50B7-2795-4213-BC95-98D7794619A4}" srcOrd="0" destOrd="0" presId="urn:microsoft.com/office/officeart/2005/8/layout/vList4"/>
    <dgm:cxn modelId="{CBCC42E6-EC49-49BB-8444-6DEC97AB1250}" type="presParOf" srcId="{B3796655-C5F0-43BA-9B39-3AB9ED09AAAF}" destId="{8055F1CD-D3C6-4527-A118-CB0F8325ED4F}" srcOrd="1" destOrd="0" presId="urn:microsoft.com/office/officeart/2005/8/layout/vList4"/>
    <dgm:cxn modelId="{BEAE61C2-93BA-4292-A835-D297CD0CC4D0}" type="presParOf" srcId="{B3796655-C5F0-43BA-9B39-3AB9ED09AAAF}" destId="{21D64445-C0D1-4987-8BCE-5BD2B8133EB0}" srcOrd="2" destOrd="0" presId="urn:microsoft.com/office/officeart/2005/8/layout/vList4"/>
    <dgm:cxn modelId="{1F935E4A-C8A1-4522-AEE8-DC67806B3FD6}" type="presParOf" srcId="{9AC41908-5E6B-4DEE-A365-E5D44DD62DFB}" destId="{C1A425B5-6AB0-4221-9BDD-6F6EFC14964E}" srcOrd="3" destOrd="0" presId="urn:microsoft.com/office/officeart/2005/8/layout/vList4"/>
    <dgm:cxn modelId="{5C52184D-E0A4-4517-AAFA-E2E8C2A4749C}" type="presParOf" srcId="{9AC41908-5E6B-4DEE-A365-E5D44DD62DFB}" destId="{F7C0CA57-6EE3-4F1D-B3EF-F1DEB16BDCE7}" srcOrd="4" destOrd="0" presId="urn:microsoft.com/office/officeart/2005/8/layout/vList4"/>
    <dgm:cxn modelId="{AC5AADBF-2BAF-4C9C-A7B2-4503640D7B8E}" type="presParOf" srcId="{F7C0CA57-6EE3-4F1D-B3EF-F1DEB16BDCE7}" destId="{3349C20E-6D8E-4C31-952C-B82558E440F6}" srcOrd="0" destOrd="0" presId="urn:microsoft.com/office/officeart/2005/8/layout/vList4"/>
    <dgm:cxn modelId="{B2D1F6AF-6A0B-4DC3-8DEF-35477DC163AC}" type="presParOf" srcId="{F7C0CA57-6EE3-4F1D-B3EF-F1DEB16BDCE7}" destId="{A04FDEF8-B179-4EEE-B924-9D0F613AB8F0}" srcOrd="1" destOrd="0" presId="urn:microsoft.com/office/officeart/2005/8/layout/vList4"/>
    <dgm:cxn modelId="{9999E869-95F0-4140-A159-4EB58EA937A7}" type="presParOf" srcId="{F7C0CA57-6EE3-4F1D-B3EF-F1DEB16BDCE7}" destId="{D7A84918-4AE9-4759-82AA-C9C63F37ED47}"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314E6B1-A3E4-4807-B1B4-4CF8E21B9DF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47B0D5AE-330B-4EC5-84DB-73EE5ED1DA3E}">
      <dgm:prSet phldrT="[Текст]" custT="1"/>
      <dgm:spPr/>
      <dgm:t>
        <a:bodyPr/>
        <a:lstStyle/>
        <a:p>
          <a:r>
            <a:rPr lang="uk-UA" sz="3200" b="0" noProof="0" dirty="0">
              <a:highlight>
                <a:srgbClr val="00FFFF"/>
              </a:highlight>
            </a:rPr>
            <a:t>Наказ МОЗ від 04.08.2022 № 1415</a:t>
          </a:r>
        </a:p>
        <a:p>
          <a:r>
            <a:rPr lang="uk-UA" sz="3200" b="0" noProof="0" dirty="0"/>
            <a:t>Зупинення атестації</a:t>
          </a:r>
        </a:p>
      </dgm:t>
    </dgm:pt>
    <dgm:pt modelId="{BF5627D0-69BD-4E48-BC19-292485DF4C95}" type="parTrans" cxnId="{48756439-84A4-4652-A102-676274674928}">
      <dgm:prSet/>
      <dgm:spPr/>
      <dgm:t>
        <a:bodyPr/>
        <a:lstStyle/>
        <a:p>
          <a:endParaRPr lang="ru-UA"/>
        </a:p>
      </dgm:t>
    </dgm:pt>
    <dgm:pt modelId="{6E1A21EC-F260-4520-BA82-F95EF9D8BBC2}" type="sibTrans" cxnId="{48756439-84A4-4652-A102-676274674928}">
      <dgm:prSet/>
      <dgm:spPr/>
      <dgm:t>
        <a:bodyPr/>
        <a:lstStyle/>
        <a:p>
          <a:endParaRPr lang="ru-UA"/>
        </a:p>
      </dgm:t>
    </dgm:pt>
    <dgm:pt modelId="{D3A7E225-0024-4BF9-B957-F96282C89373}">
      <dgm:prSet phldrT="[Текст]" custT="1"/>
      <dgm:spPr/>
      <dgm:t>
        <a:bodyPr/>
        <a:lstStyle/>
        <a:p>
          <a:r>
            <a:rPr lang="uk-UA" sz="3200" b="0" i="0" noProof="0" dirty="0"/>
            <a:t>лікарів (провізорів)</a:t>
          </a:r>
          <a:endParaRPr lang="uk-UA" sz="3200" b="0" noProof="0" dirty="0"/>
        </a:p>
      </dgm:t>
    </dgm:pt>
    <dgm:pt modelId="{3A8C81D2-B8C1-4683-929D-54CEEB2F7C14}" type="parTrans" cxnId="{5C908ED0-0DCA-4271-9003-DC02750ED9D9}">
      <dgm:prSet/>
      <dgm:spPr/>
      <dgm:t>
        <a:bodyPr/>
        <a:lstStyle/>
        <a:p>
          <a:endParaRPr lang="ru-UA"/>
        </a:p>
      </dgm:t>
    </dgm:pt>
    <dgm:pt modelId="{C57D582E-7C16-46EC-A13E-9A8B63960A47}" type="sibTrans" cxnId="{5C908ED0-0DCA-4271-9003-DC02750ED9D9}">
      <dgm:prSet/>
      <dgm:spPr/>
      <dgm:t>
        <a:bodyPr/>
        <a:lstStyle/>
        <a:p>
          <a:endParaRPr lang="ru-UA"/>
        </a:p>
      </dgm:t>
    </dgm:pt>
    <dgm:pt modelId="{A4137AFB-7087-44F7-B850-069C83BF3046}">
      <dgm:prSet phldrT="[Текст]" custT="1"/>
      <dgm:spPr/>
      <dgm:t>
        <a:bodyPr/>
        <a:lstStyle/>
        <a:p>
          <a:r>
            <a:rPr lang="uk-UA" sz="3200" b="0" i="0" noProof="0" dirty="0"/>
            <a:t>молодших спеціалістів із медичною освітою</a:t>
          </a:r>
          <a:endParaRPr lang="uk-UA" sz="3200" b="0" noProof="0" dirty="0"/>
        </a:p>
      </dgm:t>
    </dgm:pt>
    <dgm:pt modelId="{26F9AEA2-6CDC-4F1D-9D6E-5BDC7208F67F}" type="parTrans" cxnId="{1D63252A-CA7C-48D7-AAF7-A571C94ECDC9}">
      <dgm:prSet/>
      <dgm:spPr/>
      <dgm:t>
        <a:bodyPr/>
        <a:lstStyle/>
        <a:p>
          <a:endParaRPr lang="ru-UA"/>
        </a:p>
      </dgm:t>
    </dgm:pt>
    <dgm:pt modelId="{64E30BFD-657E-4150-9D9E-6AAC8525ADE2}" type="sibTrans" cxnId="{1D63252A-CA7C-48D7-AAF7-A571C94ECDC9}">
      <dgm:prSet/>
      <dgm:spPr/>
      <dgm:t>
        <a:bodyPr/>
        <a:lstStyle/>
        <a:p>
          <a:endParaRPr lang="ru-UA"/>
        </a:p>
      </dgm:t>
    </dgm:pt>
    <dgm:pt modelId="{0CED9A88-89CE-435A-8B14-94D115A8A3EC}">
      <dgm:prSet phldrT="[Текст]" custT="1"/>
      <dgm:spPr/>
      <dgm:t>
        <a:bodyPr/>
        <a:lstStyle/>
        <a:p>
          <a:r>
            <a:rPr lang="uk-UA" sz="3200" b="0" i="0" noProof="0" dirty="0"/>
            <a:t>фармацевтів</a:t>
          </a:r>
          <a:endParaRPr lang="uk-UA" sz="3200" b="0" noProof="0" dirty="0"/>
        </a:p>
      </dgm:t>
    </dgm:pt>
    <dgm:pt modelId="{0051B4E8-D67B-43B9-B7FB-A2B702AC0ADE}" type="parTrans" cxnId="{2B7C713C-104F-48A9-846C-694E4A2B2457}">
      <dgm:prSet/>
      <dgm:spPr/>
      <dgm:t>
        <a:bodyPr/>
        <a:lstStyle/>
        <a:p>
          <a:endParaRPr lang="ru-UA"/>
        </a:p>
      </dgm:t>
    </dgm:pt>
    <dgm:pt modelId="{C6E41EF1-6EBF-48DE-8F85-F757C1F53782}" type="sibTrans" cxnId="{2B7C713C-104F-48A9-846C-694E4A2B2457}">
      <dgm:prSet/>
      <dgm:spPr/>
      <dgm:t>
        <a:bodyPr/>
        <a:lstStyle/>
        <a:p>
          <a:endParaRPr lang="ru-UA"/>
        </a:p>
      </dgm:t>
    </dgm:pt>
    <dgm:pt modelId="{FC6A8894-6A4D-4406-A6DC-1E6EAB4F1734}">
      <dgm:prSet custT="1"/>
      <dgm:spPr/>
      <dgm:t>
        <a:bodyPr/>
        <a:lstStyle/>
        <a:p>
          <a:r>
            <a:rPr lang="uk-UA" sz="3200" b="0" noProof="0" dirty="0">
              <a:highlight>
                <a:srgbClr val="00FFFF"/>
              </a:highlight>
            </a:rPr>
            <a:t>Наказ МОЗ від 07.02.2022 № 426</a:t>
          </a:r>
        </a:p>
        <a:p>
          <a:r>
            <a:rPr lang="uk-UA" sz="3200" b="0" noProof="0" dirty="0"/>
            <a:t>Зупинення атестації</a:t>
          </a:r>
        </a:p>
      </dgm:t>
    </dgm:pt>
    <dgm:pt modelId="{CBB16F34-1F7D-42BB-BEE6-2F6B29FD9A9A}" type="parTrans" cxnId="{F2871544-A0D1-414A-BB6E-13B267DC92EB}">
      <dgm:prSet/>
      <dgm:spPr/>
      <dgm:t>
        <a:bodyPr/>
        <a:lstStyle/>
        <a:p>
          <a:endParaRPr lang="ru-UA"/>
        </a:p>
      </dgm:t>
    </dgm:pt>
    <dgm:pt modelId="{DC88BF95-263F-4941-B169-F1AAD8C13040}" type="sibTrans" cxnId="{F2871544-A0D1-414A-BB6E-13B267DC92EB}">
      <dgm:prSet/>
      <dgm:spPr/>
      <dgm:t>
        <a:bodyPr/>
        <a:lstStyle/>
        <a:p>
          <a:endParaRPr lang="ru-UA"/>
        </a:p>
      </dgm:t>
    </dgm:pt>
    <dgm:pt modelId="{6AE5296D-2AB5-43A1-AFF5-CBDE2934ACE0}">
      <dgm:prSet phldrT="[Текст]" custT="1"/>
      <dgm:spPr/>
      <dgm:t>
        <a:bodyPr/>
        <a:lstStyle/>
        <a:p>
          <a:r>
            <a:rPr lang="uk-UA" sz="3200" b="0" i="0" noProof="0" dirty="0"/>
            <a:t>професіоналів із вищою немедичною освітою, які працюють у сфері охорони здоров'я</a:t>
          </a:r>
          <a:endParaRPr lang="uk-UA" sz="3200" b="0" noProof="0" dirty="0"/>
        </a:p>
      </dgm:t>
    </dgm:pt>
    <dgm:pt modelId="{CC930B85-2974-4B24-BEA0-F87D2D4AAE40}" type="parTrans" cxnId="{38DDBB1B-D0DE-4048-8886-2F28822D5EA2}">
      <dgm:prSet/>
      <dgm:spPr/>
      <dgm:t>
        <a:bodyPr/>
        <a:lstStyle/>
        <a:p>
          <a:endParaRPr lang="ru-UA"/>
        </a:p>
      </dgm:t>
    </dgm:pt>
    <dgm:pt modelId="{CA0C3BBC-2752-4D44-AD58-505A4993D7AF}" type="sibTrans" cxnId="{38DDBB1B-D0DE-4048-8886-2F28822D5EA2}">
      <dgm:prSet/>
      <dgm:spPr/>
      <dgm:t>
        <a:bodyPr/>
        <a:lstStyle/>
        <a:p>
          <a:endParaRPr lang="ru-UA"/>
        </a:p>
      </dgm:t>
    </dgm:pt>
    <dgm:pt modelId="{224FC42D-ECC4-474A-9DEE-4585B7E2ECF1}">
      <dgm:prSet phldrT="[Текст]" custT="1"/>
      <dgm:spPr/>
      <dgm:t>
        <a:bodyPr/>
        <a:lstStyle/>
        <a:p>
          <a:r>
            <a:rPr lang="uk-UA" sz="3200" b="0" i="0" noProof="0" dirty="0"/>
            <a:t>Поновлення атестації</a:t>
          </a:r>
          <a:endParaRPr lang="uk-UA" sz="3200" b="0" noProof="0" dirty="0"/>
        </a:p>
      </dgm:t>
    </dgm:pt>
    <dgm:pt modelId="{124EACB7-CDB5-49C6-97B5-5FE3A68F577C}" type="parTrans" cxnId="{437B1B27-DD0C-4621-BDBA-F6E87700FE38}">
      <dgm:prSet/>
      <dgm:spPr/>
      <dgm:t>
        <a:bodyPr/>
        <a:lstStyle/>
        <a:p>
          <a:endParaRPr lang="ru-UA"/>
        </a:p>
      </dgm:t>
    </dgm:pt>
    <dgm:pt modelId="{A50F9A39-1D5E-444D-8424-29BB69914105}" type="sibTrans" cxnId="{437B1B27-DD0C-4621-BDBA-F6E87700FE38}">
      <dgm:prSet/>
      <dgm:spPr/>
      <dgm:t>
        <a:bodyPr/>
        <a:lstStyle/>
        <a:p>
          <a:endParaRPr lang="ru-UA"/>
        </a:p>
      </dgm:t>
    </dgm:pt>
    <dgm:pt modelId="{1F5C6BFD-1E83-4991-B352-018F1C2E6691}">
      <dgm:prSet custT="1"/>
      <dgm:spPr/>
      <dgm:t>
        <a:bodyPr/>
        <a:lstStyle/>
        <a:p>
          <a:r>
            <a:rPr lang="uk-UA" sz="3200" b="0" i="0" noProof="0" dirty="0"/>
            <a:t>медиків</a:t>
          </a:r>
        </a:p>
        <a:p>
          <a:r>
            <a:rPr lang="uk-UA" sz="3200" b="0" i="0" noProof="0" dirty="0"/>
            <a:t>фармацевтів</a:t>
          </a:r>
          <a:endParaRPr lang="uk-UA" sz="3200" b="0" noProof="0" dirty="0"/>
        </a:p>
      </dgm:t>
    </dgm:pt>
    <dgm:pt modelId="{AA4E94CF-3B7F-4638-A700-693AE65381A5}" type="parTrans" cxnId="{C6AA947A-AE3C-4A7C-935D-49340444DA7F}">
      <dgm:prSet/>
      <dgm:spPr/>
      <dgm:t>
        <a:bodyPr/>
        <a:lstStyle/>
        <a:p>
          <a:endParaRPr lang="ru-UA"/>
        </a:p>
      </dgm:t>
    </dgm:pt>
    <dgm:pt modelId="{B92D2543-4A47-4243-878F-4E74C2888332}" type="sibTrans" cxnId="{C6AA947A-AE3C-4A7C-935D-49340444DA7F}">
      <dgm:prSet/>
      <dgm:spPr/>
      <dgm:t>
        <a:bodyPr/>
        <a:lstStyle/>
        <a:p>
          <a:endParaRPr lang="ru-UA"/>
        </a:p>
      </dgm:t>
    </dgm:pt>
    <dgm:pt modelId="{C4DA3E4C-368B-4134-9AE8-1EBCBE182F8C}">
      <dgm:prSet phldrT="[Текст]" custT="1"/>
      <dgm:spPr/>
      <dgm:t>
        <a:bodyPr/>
        <a:lstStyle/>
        <a:p>
          <a:r>
            <a:rPr lang="uk-UA" sz="3200" b="0" i="0" noProof="0" dirty="0"/>
            <a:t>через 60 днів після закінчення воєнного стану. </a:t>
          </a:r>
          <a:endParaRPr lang="uk-UA" sz="3200" b="0" noProof="0" dirty="0"/>
        </a:p>
      </dgm:t>
    </dgm:pt>
    <dgm:pt modelId="{98DA9851-F703-450E-B490-C339F31496DF}" type="parTrans" cxnId="{4F8767F5-6E93-4027-AFE4-8C4465B8E1E0}">
      <dgm:prSet/>
      <dgm:spPr/>
      <dgm:t>
        <a:bodyPr/>
        <a:lstStyle/>
        <a:p>
          <a:endParaRPr lang="ru-UA"/>
        </a:p>
      </dgm:t>
    </dgm:pt>
    <dgm:pt modelId="{AA19988D-C6E8-463C-BD46-B537B1A4578A}" type="sibTrans" cxnId="{4F8767F5-6E93-4027-AFE4-8C4465B8E1E0}">
      <dgm:prSet/>
      <dgm:spPr/>
      <dgm:t>
        <a:bodyPr/>
        <a:lstStyle/>
        <a:p>
          <a:endParaRPr lang="ru-UA"/>
        </a:p>
      </dgm:t>
    </dgm:pt>
    <dgm:pt modelId="{E05A751D-F014-4989-AEE2-EDE363C4EBBD}">
      <dgm:prSet phldrT="[Текст]" custT="1"/>
      <dgm:spPr/>
      <dgm:t>
        <a:bodyPr/>
        <a:lstStyle/>
        <a:p>
          <a:r>
            <a:rPr lang="uk-UA" sz="3200" b="0" i="0" noProof="0" dirty="0"/>
            <a:t>Строк дії </a:t>
          </a:r>
          <a:r>
            <a:rPr lang="uk-UA" sz="2800" b="0" i="0" noProof="0" dirty="0"/>
            <a:t>сертифікатів спеціаліста і посвідчень про кваліфікаційну категорію</a:t>
          </a:r>
          <a:endParaRPr lang="uk-UA" sz="2800" b="0" noProof="0" dirty="0"/>
        </a:p>
      </dgm:t>
    </dgm:pt>
    <dgm:pt modelId="{1B94BFA8-D412-4AE1-8FC4-068EB101647F}" type="parTrans" cxnId="{9DD6B11A-D2D8-43FE-90B7-9C8077323A8F}">
      <dgm:prSet/>
      <dgm:spPr/>
      <dgm:t>
        <a:bodyPr/>
        <a:lstStyle/>
        <a:p>
          <a:endParaRPr lang="ru-UA"/>
        </a:p>
      </dgm:t>
    </dgm:pt>
    <dgm:pt modelId="{63C855D5-530F-4BC7-A3A9-3E11DCC92908}" type="sibTrans" cxnId="{9DD6B11A-D2D8-43FE-90B7-9C8077323A8F}">
      <dgm:prSet/>
      <dgm:spPr/>
      <dgm:t>
        <a:bodyPr/>
        <a:lstStyle/>
        <a:p>
          <a:endParaRPr lang="ru-UA"/>
        </a:p>
      </dgm:t>
    </dgm:pt>
    <dgm:pt modelId="{5EB17046-E5D6-4D3F-A524-7BBA7352433A}">
      <dgm:prSet phldrT="[Текст]" custT="1"/>
      <dgm:spPr/>
      <dgm:t>
        <a:bodyPr/>
        <a:lstStyle/>
        <a:p>
          <a:r>
            <a:rPr lang="uk-UA" sz="3200" b="0" i="0" noProof="0" dirty="0"/>
            <a:t>Якщо завершили дію в період воєнного стану - продовжується на 1 рік. Для цього керівник закладу охорони здоров'я за місцем роботи медика має видати спеціальний наказ</a:t>
          </a:r>
          <a:endParaRPr lang="uk-UA" sz="3200" b="0" noProof="0" dirty="0"/>
        </a:p>
      </dgm:t>
    </dgm:pt>
    <dgm:pt modelId="{96A416A5-7839-45F9-BDF1-DA78EA2AD1AB}" type="parTrans" cxnId="{4C1EB68F-8B2D-4616-8995-18A285BD10C9}">
      <dgm:prSet/>
      <dgm:spPr/>
      <dgm:t>
        <a:bodyPr/>
        <a:lstStyle/>
        <a:p>
          <a:endParaRPr lang="ru-UA"/>
        </a:p>
      </dgm:t>
    </dgm:pt>
    <dgm:pt modelId="{78358039-E068-40D4-80EE-BCD66090669D}" type="sibTrans" cxnId="{4C1EB68F-8B2D-4616-8995-18A285BD10C9}">
      <dgm:prSet/>
      <dgm:spPr/>
      <dgm:t>
        <a:bodyPr/>
        <a:lstStyle/>
        <a:p>
          <a:endParaRPr lang="ru-UA"/>
        </a:p>
      </dgm:t>
    </dgm:pt>
    <dgm:pt modelId="{8E1E640F-1408-48E2-A925-16E8848632DE}" type="pres">
      <dgm:prSet presAssocID="{1314E6B1-A3E4-4807-B1B4-4CF8E21B9DF3}" presName="vert0" presStyleCnt="0">
        <dgm:presLayoutVars>
          <dgm:dir/>
          <dgm:animOne val="branch"/>
          <dgm:animLvl val="lvl"/>
        </dgm:presLayoutVars>
      </dgm:prSet>
      <dgm:spPr/>
      <dgm:t>
        <a:bodyPr/>
        <a:lstStyle/>
        <a:p>
          <a:endParaRPr lang="en-US"/>
        </a:p>
      </dgm:t>
    </dgm:pt>
    <dgm:pt modelId="{51AA511C-C4A4-432A-A5B1-79A8D4DE15B0}" type="pres">
      <dgm:prSet presAssocID="{47B0D5AE-330B-4EC5-84DB-73EE5ED1DA3E}" presName="thickLine" presStyleLbl="alignNode1" presStyleIdx="0" presStyleCnt="4"/>
      <dgm:spPr/>
    </dgm:pt>
    <dgm:pt modelId="{DA7224B9-8A5D-4452-817E-8F72869ADCEC}" type="pres">
      <dgm:prSet presAssocID="{47B0D5AE-330B-4EC5-84DB-73EE5ED1DA3E}" presName="horz1" presStyleCnt="0"/>
      <dgm:spPr/>
    </dgm:pt>
    <dgm:pt modelId="{1B856034-8AD0-4BAA-A771-AE9AD6D2FF22}" type="pres">
      <dgm:prSet presAssocID="{47B0D5AE-330B-4EC5-84DB-73EE5ED1DA3E}" presName="tx1" presStyleLbl="revTx" presStyleIdx="0" presStyleCnt="11"/>
      <dgm:spPr/>
      <dgm:t>
        <a:bodyPr/>
        <a:lstStyle/>
        <a:p>
          <a:endParaRPr lang="en-US"/>
        </a:p>
      </dgm:t>
    </dgm:pt>
    <dgm:pt modelId="{EC23B9AD-D25F-4EF6-945D-2C5D2A361761}" type="pres">
      <dgm:prSet presAssocID="{47B0D5AE-330B-4EC5-84DB-73EE5ED1DA3E}" presName="vert1" presStyleCnt="0"/>
      <dgm:spPr/>
    </dgm:pt>
    <dgm:pt modelId="{0C0E625A-2EB5-4618-848C-8079E4DEB703}" type="pres">
      <dgm:prSet presAssocID="{D3A7E225-0024-4BF9-B957-F96282C89373}" presName="vertSpace2a" presStyleCnt="0"/>
      <dgm:spPr/>
    </dgm:pt>
    <dgm:pt modelId="{5D66911B-0C91-4A4B-B42D-D5CAD4F79758}" type="pres">
      <dgm:prSet presAssocID="{D3A7E225-0024-4BF9-B957-F96282C89373}" presName="horz2" presStyleCnt="0"/>
      <dgm:spPr/>
    </dgm:pt>
    <dgm:pt modelId="{E6DE6D65-8E37-43AD-B3C4-1F45E037D266}" type="pres">
      <dgm:prSet presAssocID="{D3A7E225-0024-4BF9-B957-F96282C89373}" presName="horzSpace2" presStyleCnt="0"/>
      <dgm:spPr/>
    </dgm:pt>
    <dgm:pt modelId="{154AD2A2-B6E1-47D4-9B75-81A2C8E7B91A}" type="pres">
      <dgm:prSet presAssocID="{D3A7E225-0024-4BF9-B957-F96282C89373}" presName="tx2" presStyleLbl="revTx" presStyleIdx="1" presStyleCnt="11"/>
      <dgm:spPr/>
      <dgm:t>
        <a:bodyPr/>
        <a:lstStyle/>
        <a:p>
          <a:endParaRPr lang="en-US"/>
        </a:p>
      </dgm:t>
    </dgm:pt>
    <dgm:pt modelId="{13777DC4-414E-4217-B2DA-4B10FEC68EF2}" type="pres">
      <dgm:prSet presAssocID="{D3A7E225-0024-4BF9-B957-F96282C89373}" presName="vert2" presStyleCnt="0"/>
      <dgm:spPr/>
    </dgm:pt>
    <dgm:pt modelId="{DEF7A55F-760F-45F9-A640-E54B36D1AF63}" type="pres">
      <dgm:prSet presAssocID="{D3A7E225-0024-4BF9-B957-F96282C89373}" presName="thinLine2b" presStyleLbl="callout" presStyleIdx="0" presStyleCnt="7"/>
      <dgm:spPr/>
    </dgm:pt>
    <dgm:pt modelId="{63295530-D83B-4138-9AE3-45D310B19B01}" type="pres">
      <dgm:prSet presAssocID="{D3A7E225-0024-4BF9-B957-F96282C89373}" presName="vertSpace2b" presStyleCnt="0"/>
      <dgm:spPr/>
    </dgm:pt>
    <dgm:pt modelId="{3D31BB70-B893-48CC-BAFB-79CB487D772F}" type="pres">
      <dgm:prSet presAssocID="{A4137AFB-7087-44F7-B850-069C83BF3046}" presName="horz2" presStyleCnt="0"/>
      <dgm:spPr/>
    </dgm:pt>
    <dgm:pt modelId="{AB48D2A9-D624-4C81-AE4A-E3252920737A}" type="pres">
      <dgm:prSet presAssocID="{A4137AFB-7087-44F7-B850-069C83BF3046}" presName="horzSpace2" presStyleCnt="0"/>
      <dgm:spPr/>
    </dgm:pt>
    <dgm:pt modelId="{19F648F9-1051-4845-9E2F-CB5FFF2507FC}" type="pres">
      <dgm:prSet presAssocID="{A4137AFB-7087-44F7-B850-069C83BF3046}" presName="tx2" presStyleLbl="revTx" presStyleIdx="2" presStyleCnt="11"/>
      <dgm:spPr/>
      <dgm:t>
        <a:bodyPr/>
        <a:lstStyle/>
        <a:p>
          <a:endParaRPr lang="en-US"/>
        </a:p>
      </dgm:t>
    </dgm:pt>
    <dgm:pt modelId="{C7A15DFD-9FA3-49BA-93CA-C532820C66E9}" type="pres">
      <dgm:prSet presAssocID="{A4137AFB-7087-44F7-B850-069C83BF3046}" presName="vert2" presStyleCnt="0"/>
      <dgm:spPr/>
    </dgm:pt>
    <dgm:pt modelId="{DF004D7E-937C-4B0F-AF50-508AE8A512D6}" type="pres">
      <dgm:prSet presAssocID="{A4137AFB-7087-44F7-B850-069C83BF3046}" presName="thinLine2b" presStyleLbl="callout" presStyleIdx="1" presStyleCnt="7"/>
      <dgm:spPr/>
    </dgm:pt>
    <dgm:pt modelId="{5C8BE40B-526C-42CD-8AC0-D89A94B9BF04}" type="pres">
      <dgm:prSet presAssocID="{A4137AFB-7087-44F7-B850-069C83BF3046}" presName="vertSpace2b" presStyleCnt="0"/>
      <dgm:spPr/>
    </dgm:pt>
    <dgm:pt modelId="{8D9FCE39-B4B7-4AD2-9B32-3D321F8C28A8}" type="pres">
      <dgm:prSet presAssocID="{0CED9A88-89CE-435A-8B14-94D115A8A3EC}" presName="horz2" presStyleCnt="0"/>
      <dgm:spPr/>
    </dgm:pt>
    <dgm:pt modelId="{CD0A8486-F024-403B-B5BA-04E722C9532A}" type="pres">
      <dgm:prSet presAssocID="{0CED9A88-89CE-435A-8B14-94D115A8A3EC}" presName="horzSpace2" presStyleCnt="0"/>
      <dgm:spPr/>
    </dgm:pt>
    <dgm:pt modelId="{48A69DFA-384F-40FC-B7A3-6ECB47C4CE90}" type="pres">
      <dgm:prSet presAssocID="{0CED9A88-89CE-435A-8B14-94D115A8A3EC}" presName="tx2" presStyleLbl="revTx" presStyleIdx="3" presStyleCnt="11"/>
      <dgm:spPr/>
      <dgm:t>
        <a:bodyPr/>
        <a:lstStyle/>
        <a:p>
          <a:endParaRPr lang="en-US"/>
        </a:p>
      </dgm:t>
    </dgm:pt>
    <dgm:pt modelId="{F66DD0C1-545A-44F3-8EBB-1FE605AA0912}" type="pres">
      <dgm:prSet presAssocID="{0CED9A88-89CE-435A-8B14-94D115A8A3EC}" presName="vert2" presStyleCnt="0"/>
      <dgm:spPr/>
    </dgm:pt>
    <dgm:pt modelId="{50EB4D6D-FD32-44F4-9993-8739F2619CC9}" type="pres">
      <dgm:prSet presAssocID="{0CED9A88-89CE-435A-8B14-94D115A8A3EC}" presName="thinLine2b" presStyleLbl="callout" presStyleIdx="2" presStyleCnt="7"/>
      <dgm:spPr/>
    </dgm:pt>
    <dgm:pt modelId="{B3BBD82E-A7D8-4B98-8B6B-2CC39D0E7F12}" type="pres">
      <dgm:prSet presAssocID="{0CED9A88-89CE-435A-8B14-94D115A8A3EC}" presName="vertSpace2b" presStyleCnt="0"/>
      <dgm:spPr/>
    </dgm:pt>
    <dgm:pt modelId="{64DB5F33-9DA2-48EF-999B-30D9115A173A}" type="pres">
      <dgm:prSet presAssocID="{6AE5296D-2AB5-43A1-AFF5-CBDE2934ACE0}" presName="horz2" presStyleCnt="0"/>
      <dgm:spPr/>
    </dgm:pt>
    <dgm:pt modelId="{229E9A52-7DA9-4AF6-8CC7-5F480266FE40}" type="pres">
      <dgm:prSet presAssocID="{6AE5296D-2AB5-43A1-AFF5-CBDE2934ACE0}" presName="horzSpace2" presStyleCnt="0"/>
      <dgm:spPr/>
    </dgm:pt>
    <dgm:pt modelId="{26CAC199-9053-49C5-8BAD-4E4D0010A783}" type="pres">
      <dgm:prSet presAssocID="{6AE5296D-2AB5-43A1-AFF5-CBDE2934ACE0}" presName="tx2" presStyleLbl="revTx" presStyleIdx="4" presStyleCnt="11"/>
      <dgm:spPr/>
      <dgm:t>
        <a:bodyPr/>
        <a:lstStyle/>
        <a:p>
          <a:endParaRPr lang="en-US"/>
        </a:p>
      </dgm:t>
    </dgm:pt>
    <dgm:pt modelId="{06BA565C-98B8-446A-83A9-194BC8340E53}" type="pres">
      <dgm:prSet presAssocID="{6AE5296D-2AB5-43A1-AFF5-CBDE2934ACE0}" presName="vert2" presStyleCnt="0"/>
      <dgm:spPr/>
    </dgm:pt>
    <dgm:pt modelId="{7FC7453B-73F0-4270-9B5F-B3B55792FEA0}" type="pres">
      <dgm:prSet presAssocID="{6AE5296D-2AB5-43A1-AFF5-CBDE2934ACE0}" presName="thinLine2b" presStyleLbl="callout" presStyleIdx="3" presStyleCnt="7"/>
      <dgm:spPr/>
    </dgm:pt>
    <dgm:pt modelId="{A580ACC1-2D46-43E9-8525-43C4F4EF9CB4}" type="pres">
      <dgm:prSet presAssocID="{6AE5296D-2AB5-43A1-AFF5-CBDE2934ACE0}" presName="vertSpace2b" presStyleCnt="0"/>
      <dgm:spPr/>
    </dgm:pt>
    <dgm:pt modelId="{155A08FE-FD09-47EC-BA6F-04917EE64854}" type="pres">
      <dgm:prSet presAssocID="{224FC42D-ECC4-474A-9DEE-4585B7E2ECF1}" presName="thickLine" presStyleLbl="alignNode1" presStyleIdx="1" presStyleCnt="4"/>
      <dgm:spPr/>
    </dgm:pt>
    <dgm:pt modelId="{A2F8CEBF-28AB-4906-A31F-5C8935EED1DA}" type="pres">
      <dgm:prSet presAssocID="{224FC42D-ECC4-474A-9DEE-4585B7E2ECF1}" presName="horz1" presStyleCnt="0"/>
      <dgm:spPr/>
    </dgm:pt>
    <dgm:pt modelId="{C40C88A1-330B-43B2-B1FF-0EB9B5183A27}" type="pres">
      <dgm:prSet presAssocID="{224FC42D-ECC4-474A-9DEE-4585B7E2ECF1}" presName="tx1" presStyleLbl="revTx" presStyleIdx="5" presStyleCnt="11"/>
      <dgm:spPr/>
      <dgm:t>
        <a:bodyPr/>
        <a:lstStyle/>
        <a:p>
          <a:endParaRPr lang="en-US"/>
        </a:p>
      </dgm:t>
    </dgm:pt>
    <dgm:pt modelId="{359F4008-0644-466D-9D53-258A04B2803A}" type="pres">
      <dgm:prSet presAssocID="{224FC42D-ECC4-474A-9DEE-4585B7E2ECF1}" presName="vert1" presStyleCnt="0"/>
      <dgm:spPr/>
    </dgm:pt>
    <dgm:pt modelId="{3BA9C611-03FA-4F86-B5F2-6B19E2309160}" type="pres">
      <dgm:prSet presAssocID="{C4DA3E4C-368B-4134-9AE8-1EBCBE182F8C}" presName="vertSpace2a" presStyleCnt="0"/>
      <dgm:spPr/>
    </dgm:pt>
    <dgm:pt modelId="{3C1E27E0-8EB4-4C50-AD4D-DAB2865A5997}" type="pres">
      <dgm:prSet presAssocID="{C4DA3E4C-368B-4134-9AE8-1EBCBE182F8C}" presName="horz2" presStyleCnt="0"/>
      <dgm:spPr/>
    </dgm:pt>
    <dgm:pt modelId="{9BACED21-EE18-4198-A21A-6886C644734C}" type="pres">
      <dgm:prSet presAssocID="{C4DA3E4C-368B-4134-9AE8-1EBCBE182F8C}" presName="horzSpace2" presStyleCnt="0"/>
      <dgm:spPr/>
    </dgm:pt>
    <dgm:pt modelId="{E8D5A14A-DA25-465F-B171-50F6C26FCF65}" type="pres">
      <dgm:prSet presAssocID="{C4DA3E4C-368B-4134-9AE8-1EBCBE182F8C}" presName="tx2" presStyleLbl="revTx" presStyleIdx="6" presStyleCnt="11"/>
      <dgm:spPr/>
      <dgm:t>
        <a:bodyPr/>
        <a:lstStyle/>
        <a:p>
          <a:endParaRPr lang="en-US"/>
        </a:p>
      </dgm:t>
    </dgm:pt>
    <dgm:pt modelId="{51914A8B-34F7-457E-95ED-DB3889718CE5}" type="pres">
      <dgm:prSet presAssocID="{C4DA3E4C-368B-4134-9AE8-1EBCBE182F8C}" presName="vert2" presStyleCnt="0"/>
      <dgm:spPr/>
    </dgm:pt>
    <dgm:pt modelId="{A96769FA-FB63-40C7-A1A2-EE2DF16BA086}" type="pres">
      <dgm:prSet presAssocID="{C4DA3E4C-368B-4134-9AE8-1EBCBE182F8C}" presName="thinLine2b" presStyleLbl="callout" presStyleIdx="4" presStyleCnt="7"/>
      <dgm:spPr/>
    </dgm:pt>
    <dgm:pt modelId="{5CC71AB2-D396-40F4-9D6E-678D03B5C3CA}" type="pres">
      <dgm:prSet presAssocID="{C4DA3E4C-368B-4134-9AE8-1EBCBE182F8C}" presName="vertSpace2b" presStyleCnt="0"/>
      <dgm:spPr/>
    </dgm:pt>
    <dgm:pt modelId="{D76D8D8A-A42F-4CE1-BEF2-68629A7DD9CA}" type="pres">
      <dgm:prSet presAssocID="{E05A751D-F014-4989-AEE2-EDE363C4EBBD}" presName="thickLine" presStyleLbl="alignNode1" presStyleIdx="2" presStyleCnt="4"/>
      <dgm:spPr/>
    </dgm:pt>
    <dgm:pt modelId="{FC1C225F-535E-4EE0-B6EA-73ABD29CA99A}" type="pres">
      <dgm:prSet presAssocID="{E05A751D-F014-4989-AEE2-EDE363C4EBBD}" presName="horz1" presStyleCnt="0"/>
      <dgm:spPr/>
    </dgm:pt>
    <dgm:pt modelId="{0666B7E4-1EEE-468A-A2F0-57C1497D3EEA}" type="pres">
      <dgm:prSet presAssocID="{E05A751D-F014-4989-AEE2-EDE363C4EBBD}" presName="tx1" presStyleLbl="revTx" presStyleIdx="7" presStyleCnt="11"/>
      <dgm:spPr/>
      <dgm:t>
        <a:bodyPr/>
        <a:lstStyle/>
        <a:p>
          <a:endParaRPr lang="en-US"/>
        </a:p>
      </dgm:t>
    </dgm:pt>
    <dgm:pt modelId="{B7A3DBEB-40CE-4980-9F30-29DABD41E050}" type="pres">
      <dgm:prSet presAssocID="{E05A751D-F014-4989-AEE2-EDE363C4EBBD}" presName="vert1" presStyleCnt="0"/>
      <dgm:spPr/>
    </dgm:pt>
    <dgm:pt modelId="{CA892F1F-F4EB-468F-B57F-C3C4979566FD}" type="pres">
      <dgm:prSet presAssocID="{5EB17046-E5D6-4D3F-A524-7BBA7352433A}" presName="vertSpace2a" presStyleCnt="0"/>
      <dgm:spPr/>
    </dgm:pt>
    <dgm:pt modelId="{8FF957E3-E72C-47A5-883B-F3FE123A18C0}" type="pres">
      <dgm:prSet presAssocID="{5EB17046-E5D6-4D3F-A524-7BBA7352433A}" presName="horz2" presStyleCnt="0"/>
      <dgm:spPr/>
    </dgm:pt>
    <dgm:pt modelId="{DEA4D67D-AB69-44CE-B487-889B7DF3B9EB}" type="pres">
      <dgm:prSet presAssocID="{5EB17046-E5D6-4D3F-A524-7BBA7352433A}" presName="horzSpace2" presStyleCnt="0"/>
      <dgm:spPr/>
    </dgm:pt>
    <dgm:pt modelId="{0EF43875-3311-470A-B7ED-AEF1282D51BA}" type="pres">
      <dgm:prSet presAssocID="{5EB17046-E5D6-4D3F-A524-7BBA7352433A}" presName="tx2" presStyleLbl="revTx" presStyleIdx="8" presStyleCnt="11"/>
      <dgm:spPr/>
      <dgm:t>
        <a:bodyPr/>
        <a:lstStyle/>
        <a:p>
          <a:endParaRPr lang="en-US"/>
        </a:p>
      </dgm:t>
    </dgm:pt>
    <dgm:pt modelId="{492A45C8-1D15-4F8A-AE60-E892FE0A987D}" type="pres">
      <dgm:prSet presAssocID="{5EB17046-E5D6-4D3F-A524-7BBA7352433A}" presName="vert2" presStyleCnt="0"/>
      <dgm:spPr/>
    </dgm:pt>
    <dgm:pt modelId="{118E0F55-51C3-4EBC-8AE7-C347392381B5}" type="pres">
      <dgm:prSet presAssocID="{5EB17046-E5D6-4D3F-A524-7BBA7352433A}" presName="thinLine2b" presStyleLbl="callout" presStyleIdx="5" presStyleCnt="7"/>
      <dgm:spPr/>
    </dgm:pt>
    <dgm:pt modelId="{9DCA0313-1A75-4E34-A4D5-BDC9721706BE}" type="pres">
      <dgm:prSet presAssocID="{5EB17046-E5D6-4D3F-A524-7BBA7352433A}" presName="vertSpace2b" presStyleCnt="0"/>
      <dgm:spPr/>
    </dgm:pt>
    <dgm:pt modelId="{B79A5849-090A-434A-A24F-6712A0F6F92A}" type="pres">
      <dgm:prSet presAssocID="{FC6A8894-6A4D-4406-A6DC-1E6EAB4F1734}" presName="thickLine" presStyleLbl="alignNode1" presStyleIdx="3" presStyleCnt="4"/>
      <dgm:spPr/>
    </dgm:pt>
    <dgm:pt modelId="{77E278BF-79DA-4AE1-9952-5E80B3B06DC4}" type="pres">
      <dgm:prSet presAssocID="{FC6A8894-6A4D-4406-A6DC-1E6EAB4F1734}" presName="horz1" presStyleCnt="0"/>
      <dgm:spPr/>
    </dgm:pt>
    <dgm:pt modelId="{517A7F34-0D1A-479C-ACD4-BA5D494080D6}" type="pres">
      <dgm:prSet presAssocID="{FC6A8894-6A4D-4406-A6DC-1E6EAB4F1734}" presName="tx1" presStyleLbl="revTx" presStyleIdx="9" presStyleCnt="11"/>
      <dgm:spPr/>
      <dgm:t>
        <a:bodyPr/>
        <a:lstStyle/>
        <a:p>
          <a:endParaRPr lang="en-US"/>
        </a:p>
      </dgm:t>
    </dgm:pt>
    <dgm:pt modelId="{CF63F984-FFA8-4345-8F50-810837325F5B}" type="pres">
      <dgm:prSet presAssocID="{FC6A8894-6A4D-4406-A6DC-1E6EAB4F1734}" presName="vert1" presStyleCnt="0"/>
      <dgm:spPr/>
    </dgm:pt>
    <dgm:pt modelId="{E6FCC468-BE53-4CC5-BDA4-D3B1BE657329}" type="pres">
      <dgm:prSet presAssocID="{1F5C6BFD-1E83-4991-B352-018F1C2E6691}" presName="vertSpace2a" presStyleCnt="0"/>
      <dgm:spPr/>
    </dgm:pt>
    <dgm:pt modelId="{6170E00A-2E18-42B2-8584-C846D5BE3C57}" type="pres">
      <dgm:prSet presAssocID="{1F5C6BFD-1E83-4991-B352-018F1C2E6691}" presName="horz2" presStyleCnt="0"/>
      <dgm:spPr/>
    </dgm:pt>
    <dgm:pt modelId="{CBDC491E-7E7C-4835-92AA-795A0C56561D}" type="pres">
      <dgm:prSet presAssocID="{1F5C6BFD-1E83-4991-B352-018F1C2E6691}" presName="horzSpace2" presStyleCnt="0"/>
      <dgm:spPr/>
    </dgm:pt>
    <dgm:pt modelId="{CAB1CC50-ED81-4297-A0D9-B165E0E8F25C}" type="pres">
      <dgm:prSet presAssocID="{1F5C6BFD-1E83-4991-B352-018F1C2E6691}" presName="tx2" presStyleLbl="revTx" presStyleIdx="10" presStyleCnt="11"/>
      <dgm:spPr/>
      <dgm:t>
        <a:bodyPr/>
        <a:lstStyle/>
        <a:p>
          <a:endParaRPr lang="en-US"/>
        </a:p>
      </dgm:t>
    </dgm:pt>
    <dgm:pt modelId="{A7FE7502-C07F-49CC-B27D-2D42B4C328F8}" type="pres">
      <dgm:prSet presAssocID="{1F5C6BFD-1E83-4991-B352-018F1C2E6691}" presName="vert2" presStyleCnt="0"/>
      <dgm:spPr/>
    </dgm:pt>
    <dgm:pt modelId="{BAF35497-274E-4860-BD96-579A55A1A0B6}" type="pres">
      <dgm:prSet presAssocID="{1F5C6BFD-1E83-4991-B352-018F1C2E6691}" presName="thinLine2b" presStyleLbl="callout" presStyleIdx="6" presStyleCnt="7"/>
      <dgm:spPr/>
    </dgm:pt>
    <dgm:pt modelId="{AC9B0579-4C23-4452-8936-8AD1E9536F66}" type="pres">
      <dgm:prSet presAssocID="{1F5C6BFD-1E83-4991-B352-018F1C2E6691}" presName="vertSpace2b" presStyleCnt="0"/>
      <dgm:spPr/>
    </dgm:pt>
  </dgm:ptLst>
  <dgm:cxnLst>
    <dgm:cxn modelId="{F2871544-A0D1-414A-BB6E-13B267DC92EB}" srcId="{1314E6B1-A3E4-4807-B1B4-4CF8E21B9DF3}" destId="{FC6A8894-6A4D-4406-A6DC-1E6EAB4F1734}" srcOrd="3" destOrd="0" parTransId="{CBB16F34-1F7D-42BB-BEE6-2F6B29FD9A9A}" sibTransId="{DC88BF95-263F-4941-B169-F1AAD8C13040}"/>
    <dgm:cxn modelId="{CE22D303-295B-4B49-BF8B-84B073BD9A52}" type="presOf" srcId="{1314E6B1-A3E4-4807-B1B4-4CF8E21B9DF3}" destId="{8E1E640F-1408-48E2-A925-16E8848632DE}" srcOrd="0" destOrd="0" presId="urn:microsoft.com/office/officeart/2008/layout/LinedList"/>
    <dgm:cxn modelId="{38DDBB1B-D0DE-4048-8886-2F28822D5EA2}" srcId="{47B0D5AE-330B-4EC5-84DB-73EE5ED1DA3E}" destId="{6AE5296D-2AB5-43A1-AFF5-CBDE2934ACE0}" srcOrd="3" destOrd="0" parTransId="{CC930B85-2974-4B24-BEA0-F87D2D4AAE40}" sibTransId="{CA0C3BBC-2752-4D44-AD58-505A4993D7AF}"/>
    <dgm:cxn modelId="{48756439-84A4-4652-A102-676274674928}" srcId="{1314E6B1-A3E4-4807-B1B4-4CF8E21B9DF3}" destId="{47B0D5AE-330B-4EC5-84DB-73EE5ED1DA3E}" srcOrd="0" destOrd="0" parTransId="{BF5627D0-69BD-4E48-BC19-292485DF4C95}" sibTransId="{6E1A21EC-F260-4520-BA82-F95EF9D8BBC2}"/>
    <dgm:cxn modelId="{C6AA947A-AE3C-4A7C-935D-49340444DA7F}" srcId="{FC6A8894-6A4D-4406-A6DC-1E6EAB4F1734}" destId="{1F5C6BFD-1E83-4991-B352-018F1C2E6691}" srcOrd="0" destOrd="0" parTransId="{AA4E94CF-3B7F-4638-A700-693AE65381A5}" sibTransId="{B92D2543-4A47-4243-878F-4E74C2888332}"/>
    <dgm:cxn modelId="{9DD6B11A-D2D8-43FE-90B7-9C8077323A8F}" srcId="{1314E6B1-A3E4-4807-B1B4-4CF8E21B9DF3}" destId="{E05A751D-F014-4989-AEE2-EDE363C4EBBD}" srcOrd="2" destOrd="0" parTransId="{1B94BFA8-D412-4AE1-8FC4-068EB101647F}" sibTransId="{63C855D5-530F-4BC7-A3A9-3E11DCC92908}"/>
    <dgm:cxn modelId="{437B1B27-DD0C-4621-BDBA-F6E87700FE38}" srcId="{1314E6B1-A3E4-4807-B1B4-4CF8E21B9DF3}" destId="{224FC42D-ECC4-474A-9DEE-4585B7E2ECF1}" srcOrd="1" destOrd="0" parTransId="{124EACB7-CDB5-49C6-97B5-5FE3A68F577C}" sibTransId="{A50F9A39-1D5E-444D-8424-29BB69914105}"/>
    <dgm:cxn modelId="{F147E26B-0A8C-4DD9-A54B-A31B0C8774FC}" type="presOf" srcId="{C4DA3E4C-368B-4134-9AE8-1EBCBE182F8C}" destId="{E8D5A14A-DA25-465F-B171-50F6C26FCF65}" srcOrd="0" destOrd="0" presId="urn:microsoft.com/office/officeart/2008/layout/LinedList"/>
    <dgm:cxn modelId="{7F8039A5-9565-45ED-9FE0-568121988C01}" type="presOf" srcId="{47B0D5AE-330B-4EC5-84DB-73EE5ED1DA3E}" destId="{1B856034-8AD0-4BAA-A771-AE9AD6D2FF22}" srcOrd="0" destOrd="0" presId="urn:microsoft.com/office/officeart/2008/layout/LinedList"/>
    <dgm:cxn modelId="{B2712E7F-8E45-4452-8453-97D04B4512F1}" type="presOf" srcId="{D3A7E225-0024-4BF9-B957-F96282C89373}" destId="{154AD2A2-B6E1-47D4-9B75-81A2C8E7B91A}" srcOrd="0" destOrd="0" presId="urn:microsoft.com/office/officeart/2008/layout/LinedList"/>
    <dgm:cxn modelId="{5BA129AF-C60B-4E01-9376-8A8B2AC9DBFA}" type="presOf" srcId="{6AE5296D-2AB5-43A1-AFF5-CBDE2934ACE0}" destId="{26CAC199-9053-49C5-8BAD-4E4D0010A783}" srcOrd="0" destOrd="0" presId="urn:microsoft.com/office/officeart/2008/layout/LinedList"/>
    <dgm:cxn modelId="{0C51834A-CA07-44D2-9903-3F82B13C7CE0}" type="presOf" srcId="{0CED9A88-89CE-435A-8B14-94D115A8A3EC}" destId="{48A69DFA-384F-40FC-B7A3-6ECB47C4CE90}" srcOrd="0" destOrd="0" presId="urn:microsoft.com/office/officeart/2008/layout/LinedList"/>
    <dgm:cxn modelId="{B641945F-EB71-44BE-B9EE-9418B70B9318}" type="presOf" srcId="{A4137AFB-7087-44F7-B850-069C83BF3046}" destId="{19F648F9-1051-4845-9E2F-CB5FFF2507FC}" srcOrd="0" destOrd="0" presId="urn:microsoft.com/office/officeart/2008/layout/LinedList"/>
    <dgm:cxn modelId="{5C908ED0-0DCA-4271-9003-DC02750ED9D9}" srcId="{47B0D5AE-330B-4EC5-84DB-73EE5ED1DA3E}" destId="{D3A7E225-0024-4BF9-B957-F96282C89373}" srcOrd="0" destOrd="0" parTransId="{3A8C81D2-B8C1-4683-929D-54CEEB2F7C14}" sibTransId="{C57D582E-7C16-46EC-A13E-9A8B63960A47}"/>
    <dgm:cxn modelId="{05D74BA4-C646-4A23-B880-917AD7CEE6C0}" type="presOf" srcId="{FC6A8894-6A4D-4406-A6DC-1E6EAB4F1734}" destId="{517A7F34-0D1A-479C-ACD4-BA5D494080D6}" srcOrd="0" destOrd="0" presId="urn:microsoft.com/office/officeart/2008/layout/LinedList"/>
    <dgm:cxn modelId="{4C1EB68F-8B2D-4616-8995-18A285BD10C9}" srcId="{E05A751D-F014-4989-AEE2-EDE363C4EBBD}" destId="{5EB17046-E5D6-4D3F-A524-7BBA7352433A}" srcOrd="0" destOrd="0" parTransId="{96A416A5-7839-45F9-BDF1-DA78EA2AD1AB}" sibTransId="{78358039-E068-40D4-80EE-BCD66090669D}"/>
    <dgm:cxn modelId="{3CFFAD0F-3ABE-4FFB-AC65-5BA4036DD0E2}" type="presOf" srcId="{1F5C6BFD-1E83-4991-B352-018F1C2E6691}" destId="{CAB1CC50-ED81-4297-A0D9-B165E0E8F25C}" srcOrd="0" destOrd="0" presId="urn:microsoft.com/office/officeart/2008/layout/LinedList"/>
    <dgm:cxn modelId="{90B931F9-5F3B-47EF-A481-EBA78C653590}" type="presOf" srcId="{5EB17046-E5D6-4D3F-A524-7BBA7352433A}" destId="{0EF43875-3311-470A-B7ED-AEF1282D51BA}" srcOrd="0" destOrd="0" presId="urn:microsoft.com/office/officeart/2008/layout/LinedList"/>
    <dgm:cxn modelId="{4F8767F5-6E93-4027-AFE4-8C4465B8E1E0}" srcId="{224FC42D-ECC4-474A-9DEE-4585B7E2ECF1}" destId="{C4DA3E4C-368B-4134-9AE8-1EBCBE182F8C}" srcOrd="0" destOrd="0" parTransId="{98DA9851-F703-450E-B490-C339F31496DF}" sibTransId="{AA19988D-C6E8-463C-BD46-B537B1A4578A}"/>
    <dgm:cxn modelId="{2B7C713C-104F-48A9-846C-694E4A2B2457}" srcId="{47B0D5AE-330B-4EC5-84DB-73EE5ED1DA3E}" destId="{0CED9A88-89CE-435A-8B14-94D115A8A3EC}" srcOrd="2" destOrd="0" parTransId="{0051B4E8-D67B-43B9-B7FB-A2B702AC0ADE}" sibTransId="{C6E41EF1-6EBF-48DE-8F85-F757C1F53782}"/>
    <dgm:cxn modelId="{FC68BBF6-A044-4BD3-B6E4-61ED45B45856}" type="presOf" srcId="{E05A751D-F014-4989-AEE2-EDE363C4EBBD}" destId="{0666B7E4-1EEE-468A-A2F0-57C1497D3EEA}" srcOrd="0" destOrd="0" presId="urn:microsoft.com/office/officeart/2008/layout/LinedList"/>
    <dgm:cxn modelId="{1D63252A-CA7C-48D7-AAF7-A571C94ECDC9}" srcId="{47B0D5AE-330B-4EC5-84DB-73EE5ED1DA3E}" destId="{A4137AFB-7087-44F7-B850-069C83BF3046}" srcOrd="1" destOrd="0" parTransId="{26F9AEA2-6CDC-4F1D-9D6E-5BDC7208F67F}" sibTransId="{64E30BFD-657E-4150-9D9E-6AAC8525ADE2}"/>
    <dgm:cxn modelId="{CA40DD05-8857-49B0-AB32-9FF45FE61ACB}" type="presOf" srcId="{224FC42D-ECC4-474A-9DEE-4585B7E2ECF1}" destId="{C40C88A1-330B-43B2-B1FF-0EB9B5183A27}" srcOrd="0" destOrd="0" presId="urn:microsoft.com/office/officeart/2008/layout/LinedList"/>
    <dgm:cxn modelId="{D8A88085-485E-446C-88FC-6BA09102049B}" type="presParOf" srcId="{8E1E640F-1408-48E2-A925-16E8848632DE}" destId="{51AA511C-C4A4-432A-A5B1-79A8D4DE15B0}" srcOrd="0" destOrd="0" presId="urn:microsoft.com/office/officeart/2008/layout/LinedList"/>
    <dgm:cxn modelId="{8BB3AA75-6D92-41D9-B43B-198D3B48D7C3}" type="presParOf" srcId="{8E1E640F-1408-48E2-A925-16E8848632DE}" destId="{DA7224B9-8A5D-4452-817E-8F72869ADCEC}" srcOrd="1" destOrd="0" presId="urn:microsoft.com/office/officeart/2008/layout/LinedList"/>
    <dgm:cxn modelId="{74FB7919-63C4-4CA8-A9D2-6929DE400439}" type="presParOf" srcId="{DA7224B9-8A5D-4452-817E-8F72869ADCEC}" destId="{1B856034-8AD0-4BAA-A771-AE9AD6D2FF22}" srcOrd="0" destOrd="0" presId="urn:microsoft.com/office/officeart/2008/layout/LinedList"/>
    <dgm:cxn modelId="{9B52E610-F9E6-4464-A8B2-9753ECA600A5}" type="presParOf" srcId="{DA7224B9-8A5D-4452-817E-8F72869ADCEC}" destId="{EC23B9AD-D25F-4EF6-945D-2C5D2A361761}" srcOrd="1" destOrd="0" presId="urn:microsoft.com/office/officeart/2008/layout/LinedList"/>
    <dgm:cxn modelId="{4AA115C0-9DF0-4FC5-B38C-3AE1575B330E}" type="presParOf" srcId="{EC23B9AD-D25F-4EF6-945D-2C5D2A361761}" destId="{0C0E625A-2EB5-4618-848C-8079E4DEB703}" srcOrd="0" destOrd="0" presId="urn:microsoft.com/office/officeart/2008/layout/LinedList"/>
    <dgm:cxn modelId="{2BC71DC7-997A-4852-891F-A3541C0FEBB0}" type="presParOf" srcId="{EC23B9AD-D25F-4EF6-945D-2C5D2A361761}" destId="{5D66911B-0C91-4A4B-B42D-D5CAD4F79758}" srcOrd="1" destOrd="0" presId="urn:microsoft.com/office/officeart/2008/layout/LinedList"/>
    <dgm:cxn modelId="{67525628-3601-45FC-B6AC-2BE263A8CC07}" type="presParOf" srcId="{5D66911B-0C91-4A4B-B42D-D5CAD4F79758}" destId="{E6DE6D65-8E37-43AD-B3C4-1F45E037D266}" srcOrd="0" destOrd="0" presId="urn:microsoft.com/office/officeart/2008/layout/LinedList"/>
    <dgm:cxn modelId="{14770332-E931-4354-ADA1-A7125C710218}" type="presParOf" srcId="{5D66911B-0C91-4A4B-B42D-D5CAD4F79758}" destId="{154AD2A2-B6E1-47D4-9B75-81A2C8E7B91A}" srcOrd="1" destOrd="0" presId="urn:microsoft.com/office/officeart/2008/layout/LinedList"/>
    <dgm:cxn modelId="{F079A16D-08B4-47FA-A8EA-614955CF63B5}" type="presParOf" srcId="{5D66911B-0C91-4A4B-B42D-D5CAD4F79758}" destId="{13777DC4-414E-4217-B2DA-4B10FEC68EF2}" srcOrd="2" destOrd="0" presId="urn:microsoft.com/office/officeart/2008/layout/LinedList"/>
    <dgm:cxn modelId="{6A53B988-5496-4970-BDED-7E77D34442F6}" type="presParOf" srcId="{EC23B9AD-D25F-4EF6-945D-2C5D2A361761}" destId="{DEF7A55F-760F-45F9-A640-E54B36D1AF63}" srcOrd="2" destOrd="0" presId="urn:microsoft.com/office/officeart/2008/layout/LinedList"/>
    <dgm:cxn modelId="{118FA438-1DF5-4312-B5E9-664929683BF2}" type="presParOf" srcId="{EC23B9AD-D25F-4EF6-945D-2C5D2A361761}" destId="{63295530-D83B-4138-9AE3-45D310B19B01}" srcOrd="3" destOrd="0" presId="urn:microsoft.com/office/officeart/2008/layout/LinedList"/>
    <dgm:cxn modelId="{144F6697-FBAD-47F0-B8FA-7D42C5594D97}" type="presParOf" srcId="{EC23B9AD-D25F-4EF6-945D-2C5D2A361761}" destId="{3D31BB70-B893-48CC-BAFB-79CB487D772F}" srcOrd="4" destOrd="0" presId="urn:microsoft.com/office/officeart/2008/layout/LinedList"/>
    <dgm:cxn modelId="{8F6F9E64-134B-4CC1-A4BF-E9F502A11A63}" type="presParOf" srcId="{3D31BB70-B893-48CC-BAFB-79CB487D772F}" destId="{AB48D2A9-D624-4C81-AE4A-E3252920737A}" srcOrd="0" destOrd="0" presId="urn:microsoft.com/office/officeart/2008/layout/LinedList"/>
    <dgm:cxn modelId="{96E92386-D710-450A-8CAD-68549B79EE86}" type="presParOf" srcId="{3D31BB70-B893-48CC-BAFB-79CB487D772F}" destId="{19F648F9-1051-4845-9E2F-CB5FFF2507FC}" srcOrd="1" destOrd="0" presId="urn:microsoft.com/office/officeart/2008/layout/LinedList"/>
    <dgm:cxn modelId="{C4FE3883-BF9F-4F37-8904-B68DD0666230}" type="presParOf" srcId="{3D31BB70-B893-48CC-BAFB-79CB487D772F}" destId="{C7A15DFD-9FA3-49BA-93CA-C532820C66E9}" srcOrd="2" destOrd="0" presId="urn:microsoft.com/office/officeart/2008/layout/LinedList"/>
    <dgm:cxn modelId="{2AF9381F-A3A3-41F8-9E81-DEF3238F390E}" type="presParOf" srcId="{EC23B9AD-D25F-4EF6-945D-2C5D2A361761}" destId="{DF004D7E-937C-4B0F-AF50-508AE8A512D6}" srcOrd="5" destOrd="0" presId="urn:microsoft.com/office/officeart/2008/layout/LinedList"/>
    <dgm:cxn modelId="{82DCCA50-A3F3-4532-88FA-7F81560BFAAA}" type="presParOf" srcId="{EC23B9AD-D25F-4EF6-945D-2C5D2A361761}" destId="{5C8BE40B-526C-42CD-8AC0-D89A94B9BF04}" srcOrd="6" destOrd="0" presId="urn:microsoft.com/office/officeart/2008/layout/LinedList"/>
    <dgm:cxn modelId="{506A110C-8312-4CCA-BB09-400147D5D2EA}" type="presParOf" srcId="{EC23B9AD-D25F-4EF6-945D-2C5D2A361761}" destId="{8D9FCE39-B4B7-4AD2-9B32-3D321F8C28A8}" srcOrd="7" destOrd="0" presId="urn:microsoft.com/office/officeart/2008/layout/LinedList"/>
    <dgm:cxn modelId="{379501BC-BCCD-4A0E-AA5A-F71E5C35FC73}" type="presParOf" srcId="{8D9FCE39-B4B7-4AD2-9B32-3D321F8C28A8}" destId="{CD0A8486-F024-403B-B5BA-04E722C9532A}" srcOrd="0" destOrd="0" presId="urn:microsoft.com/office/officeart/2008/layout/LinedList"/>
    <dgm:cxn modelId="{6C7C3E4C-0C25-475B-8B85-9E79B68C98FF}" type="presParOf" srcId="{8D9FCE39-B4B7-4AD2-9B32-3D321F8C28A8}" destId="{48A69DFA-384F-40FC-B7A3-6ECB47C4CE90}" srcOrd="1" destOrd="0" presId="urn:microsoft.com/office/officeart/2008/layout/LinedList"/>
    <dgm:cxn modelId="{1A7596BD-C517-475B-8F04-BF23C417FB91}" type="presParOf" srcId="{8D9FCE39-B4B7-4AD2-9B32-3D321F8C28A8}" destId="{F66DD0C1-545A-44F3-8EBB-1FE605AA0912}" srcOrd="2" destOrd="0" presId="urn:microsoft.com/office/officeart/2008/layout/LinedList"/>
    <dgm:cxn modelId="{F6269B72-3107-420F-9CDE-E519EA59C57F}" type="presParOf" srcId="{EC23B9AD-D25F-4EF6-945D-2C5D2A361761}" destId="{50EB4D6D-FD32-44F4-9993-8739F2619CC9}" srcOrd="8" destOrd="0" presId="urn:microsoft.com/office/officeart/2008/layout/LinedList"/>
    <dgm:cxn modelId="{2DA3D15E-EE12-4218-BA01-F3E62B4CEFA7}" type="presParOf" srcId="{EC23B9AD-D25F-4EF6-945D-2C5D2A361761}" destId="{B3BBD82E-A7D8-4B98-8B6B-2CC39D0E7F12}" srcOrd="9" destOrd="0" presId="urn:microsoft.com/office/officeart/2008/layout/LinedList"/>
    <dgm:cxn modelId="{02E677D7-F579-4952-ADBC-F0BAE35BB553}" type="presParOf" srcId="{EC23B9AD-D25F-4EF6-945D-2C5D2A361761}" destId="{64DB5F33-9DA2-48EF-999B-30D9115A173A}" srcOrd="10" destOrd="0" presId="urn:microsoft.com/office/officeart/2008/layout/LinedList"/>
    <dgm:cxn modelId="{9A358385-8F55-409A-8E44-88476A2FB62A}" type="presParOf" srcId="{64DB5F33-9DA2-48EF-999B-30D9115A173A}" destId="{229E9A52-7DA9-4AF6-8CC7-5F480266FE40}" srcOrd="0" destOrd="0" presId="urn:microsoft.com/office/officeart/2008/layout/LinedList"/>
    <dgm:cxn modelId="{552818AE-0BF6-4DD1-AE6F-441CA62B7E8B}" type="presParOf" srcId="{64DB5F33-9DA2-48EF-999B-30D9115A173A}" destId="{26CAC199-9053-49C5-8BAD-4E4D0010A783}" srcOrd="1" destOrd="0" presId="urn:microsoft.com/office/officeart/2008/layout/LinedList"/>
    <dgm:cxn modelId="{92E82EBD-9521-4F22-B537-4226C5A20AC5}" type="presParOf" srcId="{64DB5F33-9DA2-48EF-999B-30D9115A173A}" destId="{06BA565C-98B8-446A-83A9-194BC8340E53}" srcOrd="2" destOrd="0" presId="urn:microsoft.com/office/officeart/2008/layout/LinedList"/>
    <dgm:cxn modelId="{2B8863A2-ECD1-4352-8B4D-3EE9302145E7}" type="presParOf" srcId="{EC23B9AD-D25F-4EF6-945D-2C5D2A361761}" destId="{7FC7453B-73F0-4270-9B5F-B3B55792FEA0}" srcOrd="11" destOrd="0" presId="urn:microsoft.com/office/officeart/2008/layout/LinedList"/>
    <dgm:cxn modelId="{A496470D-DAAA-4F30-995D-7BEB04AABFE6}" type="presParOf" srcId="{EC23B9AD-D25F-4EF6-945D-2C5D2A361761}" destId="{A580ACC1-2D46-43E9-8525-43C4F4EF9CB4}" srcOrd="12" destOrd="0" presId="urn:microsoft.com/office/officeart/2008/layout/LinedList"/>
    <dgm:cxn modelId="{006BBA9D-11A9-4C9C-BE7D-6C94525E7E64}" type="presParOf" srcId="{8E1E640F-1408-48E2-A925-16E8848632DE}" destId="{155A08FE-FD09-47EC-BA6F-04917EE64854}" srcOrd="2" destOrd="0" presId="urn:microsoft.com/office/officeart/2008/layout/LinedList"/>
    <dgm:cxn modelId="{57445D26-99B2-426A-B488-5A75D2AE80B0}" type="presParOf" srcId="{8E1E640F-1408-48E2-A925-16E8848632DE}" destId="{A2F8CEBF-28AB-4906-A31F-5C8935EED1DA}" srcOrd="3" destOrd="0" presId="urn:microsoft.com/office/officeart/2008/layout/LinedList"/>
    <dgm:cxn modelId="{5E64F6AA-F148-4189-B64C-FC088DBDBC2E}" type="presParOf" srcId="{A2F8CEBF-28AB-4906-A31F-5C8935EED1DA}" destId="{C40C88A1-330B-43B2-B1FF-0EB9B5183A27}" srcOrd="0" destOrd="0" presId="urn:microsoft.com/office/officeart/2008/layout/LinedList"/>
    <dgm:cxn modelId="{303D87DB-3CF5-4601-98E4-4D11D27607BA}" type="presParOf" srcId="{A2F8CEBF-28AB-4906-A31F-5C8935EED1DA}" destId="{359F4008-0644-466D-9D53-258A04B2803A}" srcOrd="1" destOrd="0" presId="urn:microsoft.com/office/officeart/2008/layout/LinedList"/>
    <dgm:cxn modelId="{7477A4AD-A4EE-46B2-8DA5-BAF898B318D1}" type="presParOf" srcId="{359F4008-0644-466D-9D53-258A04B2803A}" destId="{3BA9C611-03FA-4F86-B5F2-6B19E2309160}" srcOrd="0" destOrd="0" presId="urn:microsoft.com/office/officeart/2008/layout/LinedList"/>
    <dgm:cxn modelId="{DD8D3807-D2CB-45B7-874A-506A4845DD03}" type="presParOf" srcId="{359F4008-0644-466D-9D53-258A04B2803A}" destId="{3C1E27E0-8EB4-4C50-AD4D-DAB2865A5997}" srcOrd="1" destOrd="0" presId="urn:microsoft.com/office/officeart/2008/layout/LinedList"/>
    <dgm:cxn modelId="{2A88F4DF-EF63-4964-92B9-1EBBC8D93122}" type="presParOf" srcId="{3C1E27E0-8EB4-4C50-AD4D-DAB2865A5997}" destId="{9BACED21-EE18-4198-A21A-6886C644734C}" srcOrd="0" destOrd="0" presId="urn:microsoft.com/office/officeart/2008/layout/LinedList"/>
    <dgm:cxn modelId="{32B50D63-702B-48A1-9D5D-85B98F906700}" type="presParOf" srcId="{3C1E27E0-8EB4-4C50-AD4D-DAB2865A5997}" destId="{E8D5A14A-DA25-465F-B171-50F6C26FCF65}" srcOrd="1" destOrd="0" presId="urn:microsoft.com/office/officeart/2008/layout/LinedList"/>
    <dgm:cxn modelId="{33D15BA8-631A-471B-BF7E-FC25AAD8854D}" type="presParOf" srcId="{3C1E27E0-8EB4-4C50-AD4D-DAB2865A5997}" destId="{51914A8B-34F7-457E-95ED-DB3889718CE5}" srcOrd="2" destOrd="0" presId="urn:microsoft.com/office/officeart/2008/layout/LinedList"/>
    <dgm:cxn modelId="{AE1E3760-8F99-4378-A5DB-5023A687A581}" type="presParOf" srcId="{359F4008-0644-466D-9D53-258A04B2803A}" destId="{A96769FA-FB63-40C7-A1A2-EE2DF16BA086}" srcOrd="2" destOrd="0" presId="urn:microsoft.com/office/officeart/2008/layout/LinedList"/>
    <dgm:cxn modelId="{B2166DFA-4A76-430D-A49B-D5887FC67AFA}" type="presParOf" srcId="{359F4008-0644-466D-9D53-258A04B2803A}" destId="{5CC71AB2-D396-40F4-9D6E-678D03B5C3CA}" srcOrd="3" destOrd="0" presId="urn:microsoft.com/office/officeart/2008/layout/LinedList"/>
    <dgm:cxn modelId="{0C469473-118B-490C-95C7-FA3899F08437}" type="presParOf" srcId="{8E1E640F-1408-48E2-A925-16E8848632DE}" destId="{D76D8D8A-A42F-4CE1-BEF2-68629A7DD9CA}" srcOrd="4" destOrd="0" presId="urn:microsoft.com/office/officeart/2008/layout/LinedList"/>
    <dgm:cxn modelId="{11F8720D-5238-4A95-92C8-9BE16FED5B83}" type="presParOf" srcId="{8E1E640F-1408-48E2-A925-16E8848632DE}" destId="{FC1C225F-535E-4EE0-B6EA-73ABD29CA99A}" srcOrd="5" destOrd="0" presId="urn:microsoft.com/office/officeart/2008/layout/LinedList"/>
    <dgm:cxn modelId="{C5304F4A-410B-4B15-A069-210CC9B56545}" type="presParOf" srcId="{FC1C225F-535E-4EE0-B6EA-73ABD29CA99A}" destId="{0666B7E4-1EEE-468A-A2F0-57C1497D3EEA}" srcOrd="0" destOrd="0" presId="urn:microsoft.com/office/officeart/2008/layout/LinedList"/>
    <dgm:cxn modelId="{E79E88D7-8B09-4840-A0AD-B30DA0CD87EA}" type="presParOf" srcId="{FC1C225F-535E-4EE0-B6EA-73ABD29CA99A}" destId="{B7A3DBEB-40CE-4980-9F30-29DABD41E050}" srcOrd="1" destOrd="0" presId="urn:microsoft.com/office/officeart/2008/layout/LinedList"/>
    <dgm:cxn modelId="{F3B361B3-93C3-4E6A-80AE-0C2A93F5252A}" type="presParOf" srcId="{B7A3DBEB-40CE-4980-9F30-29DABD41E050}" destId="{CA892F1F-F4EB-468F-B57F-C3C4979566FD}" srcOrd="0" destOrd="0" presId="urn:microsoft.com/office/officeart/2008/layout/LinedList"/>
    <dgm:cxn modelId="{D75EC53A-D463-4B6B-9A31-10F139BBD01A}" type="presParOf" srcId="{B7A3DBEB-40CE-4980-9F30-29DABD41E050}" destId="{8FF957E3-E72C-47A5-883B-F3FE123A18C0}" srcOrd="1" destOrd="0" presId="urn:microsoft.com/office/officeart/2008/layout/LinedList"/>
    <dgm:cxn modelId="{F5FB757F-8AED-4991-A459-57349A61355F}" type="presParOf" srcId="{8FF957E3-E72C-47A5-883B-F3FE123A18C0}" destId="{DEA4D67D-AB69-44CE-B487-889B7DF3B9EB}" srcOrd="0" destOrd="0" presId="urn:microsoft.com/office/officeart/2008/layout/LinedList"/>
    <dgm:cxn modelId="{F215AC38-87B9-4682-952A-C7762C501EDD}" type="presParOf" srcId="{8FF957E3-E72C-47A5-883B-F3FE123A18C0}" destId="{0EF43875-3311-470A-B7ED-AEF1282D51BA}" srcOrd="1" destOrd="0" presId="urn:microsoft.com/office/officeart/2008/layout/LinedList"/>
    <dgm:cxn modelId="{1AE83F8E-3A37-4EC1-A4AF-56521E7A4990}" type="presParOf" srcId="{8FF957E3-E72C-47A5-883B-F3FE123A18C0}" destId="{492A45C8-1D15-4F8A-AE60-E892FE0A987D}" srcOrd="2" destOrd="0" presId="urn:microsoft.com/office/officeart/2008/layout/LinedList"/>
    <dgm:cxn modelId="{93CCE3C9-E786-4278-9009-DE6636B53CC2}" type="presParOf" srcId="{B7A3DBEB-40CE-4980-9F30-29DABD41E050}" destId="{118E0F55-51C3-4EBC-8AE7-C347392381B5}" srcOrd="2" destOrd="0" presId="urn:microsoft.com/office/officeart/2008/layout/LinedList"/>
    <dgm:cxn modelId="{19651F0C-0FE1-4775-BF66-3B80543000CE}" type="presParOf" srcId="{B7A3DBEB-40CE-4980-9F30-29DABD41E050}" destId="{9DCA0313-1A75-4E34-A4D5-BDC9721706BE}" srcOrd="3" destOrd="0" presId="urn:microsoft.com/office/officeart/2008/layout/LinedList"/>
    <dgm:cxn modelId="{B8E1E245-8B81-4D50-AE93-0D2CABABD2D6}" type="presParOf" srcId="{8E1E640F-1408-48E2-A925-16E8848632DE}" destId="{B79A5849-090A-434A-A24F-6712A0F6F92A}" srcOrd="6" destOrd="0" presId="urn:microsoft.com/office/officeart/2008/layout/LinedList"/>
    <dgm:cxn modelId="{9C17A23E-38C8-406D-910D-84662A95F7DB}" type="presParOf" srcId="{8E1E640F-1408-48E2-A925-16E8848632DE}" destId="{77E278BF-79DA-4AE1-9952-5E80B3B06DC4}" srcOrd="7" destOrd="0" presId="urn:microsoft.com/office/officeart/2008/layout/LinedList"/>
    <dgm:cxn modelId="{70020773-EF1E-499F-8668-7141B9075C50}" type="presParOf" srcId="{77E278BF-79DA-4AE1-9952-5E80B3B06DC4}" destId="{517A7F34-0D1A-479C-ACD4-BA5D494080D6}" srcOrd="0" destOrd="0" presId="urn:microsoft.com/office/officeart/2008/layout/LinedList"/>
    <dgm:cxn modelId="{0EFA9814-4315-4886-832D-E1112047034D}" type="presParOf" srcId="{77E278BF-79DA-4AE1-9952-5E80B3B06DC4}" destId="{CF63F984-FFA8-4345-8F50-810837325F5B}" srcOrd="1" destOrd="0" presId="urn:microsoft.com/office/officeart/2008/layout/LinedList"/>
    <dgm:cxn modelId="{339B5402-A319-486F-B6F4-1643F9840574}" type="presParOf" srcId="{CF63F984-FFA8-4345-8F50-810837325F5B}" destId="{E6FCC468-BE53-4CC5-BDA4-D3B1BE657329}" srcOrd="0" destOrd="0" presId="urn:microsoft.com/office/officeart/2008/layout/LinedList"/>
    <dgm:cxn modelId="{5DD472AA-1FB1-4EDC-BDAD-CF44877F8633}" type="presParOf" srcId="{CF63F984-FFA8-4345-8F50-810837325F5B}" destId="{6170E00A-2E18-42B2-8584-C846D5BE3C57}" srcOrd="1" destOrd="0" presId="urn:microsoft.com/office/officeart/2008/layout/LinedList"/>
    <dgm:cxn modelId="{0B9FAD79-A06C-462B-AD5E-9B71B50E8350}" type="presParOf" srcId="{6170E00A-2E18-42B2-8584-C846D5BE3C57}" destId="{CBDC491E-7E7C-4835-92AA-795A0C56561D}" srcOrd="0" destOrd="0" presId="urn:microsoft.com/office/officeart/2008/layout/LinedList"/>
    <dgm:cxn modelId="{47381938-4829-4248-8C0C-6EA42281DA44}" type="presParOf" srcId="{6170E00A-2E18-42B2-8584-C846D5BE3C57}" destId="{CAB1CC50-ED81-4297-A0D9-B165E0E8F25C}" srcOrd="1" destOrd="0" presId="urn:microsoft.com/office/officeart/2008/layout/LinedList"/>
    <dgm:cxn modelId="{930ABFBC-9454-4F07-BE52-70B8709C9152}" type="presParOf" srcId="{6170E00A-2E18-42B2-8584-C846D5BE3C57}" destId="{A7FE7502-C07F-49CC-B27D-2D42B4C328F8}" srcOrd="2" destOrd="0" presId="urn:microsoft.com/office/officeart/2008/layout/LinedList"/>
    <dgm:cxn modelId="{3294FDF2-904D-461C-A9EB-275FEC97141F}" type="presParOf" srcId="{CF63F984-FFA8-4345-8F50-810837325F5B}" destId="{BAF35497-274E-4860-BD96-579A55A1A0B6}" srcOrd="2" destOrd="0" presId="urn:microsoft.com/office/officeart/2008/layout/LinedList"/>
    <dgm:cxn modelId="{EB44D16A-FC48-4398-8BD3-7426543A9B29}" type="presParOf" srcId="{CF63F984-FFA8-4345-8F50-810837325F5B}" destId="{AC9B0579-4C23-4452-8936-8AD1E9536F66}" srcOrd="3"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F7E31CB-5D80-4B46-8006-E28072C1B97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8C8C0C04-E055-4EB0-80EA-730F37425C55}">
      <dgm:prSet phldrT="[Текст]"/>
      <dgm:spPr/>
      <dgm:t>
        <a:bodyPr/>
        <a:lstStyle/>
        <a:p>
          <a:r>
            <a:rPr lang="uk-UA" b="0" i="0" noProof="0" dirty="0">
              <a:solidFill>
                <a:schemeClr val="tx1"/>
              </a:solidFill>
            </a:rPr>
            <a:t>До початку роботи роботодавець зобов’язаний в узгоджений із працівником спосіб поінформувати працівника про наявність на робочому місці небезпечних і шкідливих виробничих факторів, які ще не усунуто, та можливі наслідки їх впливу на здоров’я, а також про право на пільги і компенсації за роботу в таких умовах відповідно до законодавства і колективного договору - під підпис</a:t>
          </a:r>
          <a:endParaRPr lang="uk-UA" noProof="0" dirty="0">
            <a:solidFill>
              <a:schemeClr val="tx1"/>
            </a:solidFill>
          </a:endParaRPr>
        </a:p>
      </dgm:t>
    </dgm:pt>
    <dgm:pt modelId="{A8FF0A3E-DDC9-4D66-9DD4-5EB723B4911B}" type="parTrans" cxnId="{25D475D7-C64B-429B-9D3B-ECD3AD7284FF}">
      <dgm:prSet/>
      <dgm:spPr/>
      <dgm:t>
        <a:bodyPr/>
        <a:lstStyle/>
        <a:p>
          <a:endParaRPr lang="ru-UA"/>
        </a:p>
      </dgm:t>
    </dgm:pt>
    <dgm:pt modelId="{4D1C8387-6A12-49F2-A821-43DD44ADFE14}" type="sibTrans" cxnId="{25D475D7-C64B-429B-9D3B-ECD3AD7284FF}">
      <dgm:prSet/>
      <dgm:spPr/>
      <dgm:t>
        <a:bodyPr/>
        <a:lstStyle/>
        <a:p>
          <a:endParaRPr lang="ru-UA"/>
        </a:p>
      </dgm:t>
    </dgm:pt>
    <dgm:pt modelId="{EA94ECF5-43F0-478F-9533-7E6AAE1C309F}">
      <dgm:prSet phldrT="[Текст]"/>
      <dgm:spPr/>
      <dgm:t>
        <a:bodyPr/>
        <a:lstStyle/>
        <a:p>
          <a:r>
            <a:rPr lang="uk-UA" noProof="0" dirty="0"/>
            <a:t>Ст. 29 КЗпП</a:t>
          </a:r>
        </a:p>
      </dgm:t>
    </dgm:pt>
    <dgm:pt modelId="{9307C7C4-DDD9-43F1-9F3D-6DEA750B4AE9}" type="parTrans" cxnId="{6F1AB2A3-B254-4419-B743-E408C4C3F79B}">
      <dgm:prSet/>
      <dgm:spPr/>
      <dgm:t>
        <a:bodyPr/>
        <a:lstStyle/>
        <a:p>
          <a:endParaRPr lang="ru-UA"/>
        </a:p>
      </dgm:t>
    </dgm:pt>
    <dgm:pt modelId="{CA7DDD68-96D1-4B56-82FF-2383833AE2E0}" type="sibTrans" cxnId="{6F1AB2A3-B254-4419-B743-E408C4C3F79B}">
      <dgm:prSet/>
      <dgm:spPr/>
      <dgm:t>
        <a:bodyPr/>
        <a:lstStyle/>
        <a:p>
          <a:endParaRPr lang="ru-UA"/>
        </a:p>
      </dgm:t>
    </dgm:pt>
    <dgm:pt modelId="{B896DE45-D7BC-42AF-BC20-60AAC0AE97B8}">
      <dgm:prSet phldrT="[Текст]"/>
      <dgm:spPr/>
      <dgm:t>
        <a:bodyPr/>
        <a:lstStyle/>
        <a:p>
          <a:r>
            <a:rPr lang="uk-UA" b="0" i="0" noProof="0" dirty="0">
              <a:solidFill>
                <a:schemeClr val="tx1"/>
              </a:solidFill>
            </a:rPr>
            <a:t>Інформація про наявність на робочому місці небезпечних і шкідливих виробничих факторів, які ще не усунуто, та можливі наслідки їх впливу на здоров’я, а також про право на пільги і компенсації за роботу в таких умовах відповідно до законодавства і колективного договору доводиться працівнику під підпис.</a:t>
          </a:r>
          <a:endParaRPr lang="uk-UA" noProof="0" dirty="0">
            <a:solidFill>
              <a:schemeClr val="tx1"/>
            </a:solidFill>
          </a:endParaRPr>
        </a:p>
      </dgm:t>
    </dgm:pt>
    <dgm:pt modelId="{FABA6F95-B49C-4F65-AAA3-2618FD978DD5}" type="parTrans" cxnId="{0A64B82F-D7D0-4A1E-AC4A-A36A9D70FBED}">
      <dgm:prSet/>
      <dgm:spPr/>
      <dgm:t>
        <a:bodyPr/>
        <a:lstStyle/>
        <a:p>
          <a:endParaRPr lang="ru-UA"/>
        </a:p>
      </dgm:t>
    </dgm:pt>
    <dgm:pt modelId="{B257F64B-27EC-4CC5-9EDF-AAEEBA46AA32}" type="sibTrans" cxnId="{0A64B82F-D7D0-4A1E-AC4A-A36A9D70FBED}">
      <dgm:prSet/>
      <dgm:spPr/>
      <dgm:t>
        <a:bodyPr/>
        <a:lstStyle/>
        <a:p>
          <a:endParaRPr lang="ru-UA"/>
        </a:p>
      </dgm:t>
    </dgm:pt>
    <dgm:pt modelId="{6E964EA3-FB45-4DA8-96EB-1963F490D1DA}">
      <dgm:prSet phldrT="[Текст]"/>
      <dgm:spPr/>
      <dgm:t>
        <a:bodyPr/>
        <a:lstStyle/>
        <a:p>
          <a:r>
            <a:rPr lang="uk-UA" noProof="0" dirty="0"/>
            <a:t>Роз’яснення НАДС </a:t>
          </a:r>
        </a:p>
      </dgm:t>
    </dgm:pt>
    <dgm:pt modelId="{39CCD26E-02A9-4ED8-A9EB-35FD22569628}" type="parTrans" cxnId="{7E701B62-F7F4-4D2B-B3DC-F27FFF50843A}">
      <dgm:prSet/>
      <dgm:spPr/>
      <dgm:t>
        <a:bodyPr/>
        <a:lstStyle/>
        <a:p>
          <a:endParaRPr lang="ru-UA"/>
        </a:p>
      </dgm:t>
    </dgm:pt>
    <dgm:pt modelId="{FD5BE0EB-4F69-4AF4-BF24-3E1C72657FDC}" type="sibTrans" cxnId="{7E701B62-F7F4-4D2B-B3DC-F27FFF50843A}">
      <dgm:prSet/>
      <dgm:spPr/>
      <dgm:t>
        <a:bodyPr/>
        <a:lstStyle/>
        <a:p>
          <a:endParaRPr lang="ru-UA"/>
        </a:p>
      </dgm:t>
    </dgm:pt>
    <dgm:pt modelId="{A0CDDD3F-D725-4EA6-A545-9C3088BB09F7}" type="pres">
      <dgm:prSet presAssocID="{9F7E31CB-5D80-4B46-8006-E28072C1B972}" presName="linear" presStyleCnt="0">
        <dgm:presLayoutVars>
          <dgm:animLvl val="lvl"/>
          <dgm:resizeHandles val="exact"/>
        </dgm:presLayoutVars>
      </dgm:prSet>
      <dgm:spPr/>
      <dgm:t>
        <a:bodyPr/>
        <a:lstStyle/>
        <a:p>
          <a:endParaRPr lang="en-US"/>
        </a:p>
      </dgm:t>
    </dgm:pt>
    <dgm:pt modelId="{0D2E8F62-064D-4E4D-B313-7141E2686885}" type="pres">
      <dgm:prSet presAssocID="{8C8C0C04-E055-4EB0-80EA-730F37425C55}" presName="parentText" presStyleLbl="node1" presStyleIdx="0" presStyleCnt="2">
        <dgm:presLayoutVars>
          <dgm:chMax val="0"/>
          <dgm:bulletEnabled val="1"/>
        </dgm:presLayoutVars>
      </dgm:prSet>
      <dgm:spPr/>
      <dgm:t>
        <a:bodyPr/>
        <a:lstStyle/>
        <a:p>
          <a:endParaRPr lang="en-US"/>
        </a:p>
      </dgm:t>
    </dgm:pt>
    <dgm:pt modelId="{0A67EB03-220D-459E-AD16-7C325C118B42}" type="pres">
      <dgm:prSet presAssocID="{8C8C0C04-E055-4EB0-80EA-730F37425C55}" presName="childText" presStyleLbl="revTx" presStyleIdx="0" presStyleCnt="2">
        <dgm:presLayoutVars>
          <dgm:bulletEnabled val="1"/>
        </dgm:presLayoutVars>
      </dgm:prSet>
      <dgm:spPr/>
      <dgm:t>
        <a:bodyPr/>
        <a:lstStyle/>
        <a:p>
          <a:endParaRPr lang="en-US"/>
        </a:p>
      </dgm:t>
    </dgm:pt>
    <dgm:pt modelId="{1BEBC046-B03D-447B-9BCD-06F0FF989C7A}" type="pres">
      <dgm:prSet presAssocID="{B896DE45-D7BC-42AF-BC20-60AAC0AE97B8}" presName="parentText" presStyleLbl="node1" presStyleIdx="1" presStyleCnt="2">
        <dgm:presLayoutVars>
          <dgm:chMax val="0"/>
          <dgm:bulletEnabled val="1"/>
        </dgm:presLayoutVars>
      </dgm:prSet>
      <dgm:spPr/>
      <dgm:t>
        <a:bodyPr/>
        <a:lstStyle/>
        <a:p>
          <a:endParaRPr lang="en-US"/>
        </a:p>
      </dgm:t>
    </dgm:pt>
    <dgm:pt modelId="{C30CC04E-3FA5-48A3-A7CC-978E0E112F77}" type="pres">
      <dgm:prSet presAssocID="{B896DE45-D7BC-42AF-BC20-60AAC0AE97B8}" presName="childText" presStyleLbl="revTx" presStyleIdx="1" presStyleCnt="2">
        <dgm:presLayoutVars>
          <dgm:bulletEnabled val="1"/>
        </dgm:presLayoutVars>
      </dgm:prSet>
      <dgm:spPr/>
      <dgm:t>
        <a:bodyPr/>
        <a:lstStyle/>
        <a:p>
          <a:endParaRPr lang="en-US"/>
        </a:p>
      </dgm:t>
    </dgm:pt>
  </dgm:ptLst>
  <dgm:cxnLst>
    <dgm:cxn modelId="{0A64B82F-D7D0-4A1E-AC4A-A36A9D70FBED}" srcId="{9F7E31CB-5D80-4B46-8006-E28072C1B972}" destId="{B896DE45-D7BC-42AF-BC20-60AAC0AE97B8}" srcOrd="1" destOrd="0" parTransId="{FABA6F95-B49C-4F65-AAA3-2618FD978DD5}" sibTransId="{B257F64B-27EC-4CC5-9EDF-AAEEBA46AA32}"/>
    <dgm:cxn modelId="{97F0324F-80F2-4854-B701-B34E39E73152}" type="presOf" srcId="{8C8C0C04-E055-4EB0-80EA-730F37425C55}" destId="{0D2E8F62-064D-4E4D-B313-7141E2686885}" srcOrd="0" destOrd="0" presId="urn:microsoft.com/office/officeart/2005/8/layout/vList2"/>
    <dgm:cxn modelId="{7E701B62-F7F4-4D2B-B3DC-F27FFF50843A}" srcId="{B896DE45-D7BC-42AF-BC20-60AAC0AE97B8}" destId="{6E964EA3-FB45-4DA8-96EB-1963F490D1DA}" srcOrd="0" destOrd="0" parTransId="{39CCD26E-02A9-4ED8-A9EB-35FD22569628}" sibTransId="{FD5BE0EB-4F69-4AF4-BF24-3E1C72657FDC}"/>
    <dgm:cxn modelId="{47DDCF13-0EC6-4705-B488-5FF27091BBD4}" type="presOf" srcId="{EA94ECF5-43F0-478F-9533-7E6AAE1C309F}" destId="{0A67EB03-220D-459E-AD16-7C325C118B42}" srcOrd="0" destOrd="0" presId="urn:microsoft.com/office/officeart/2005/8/layout/vList2"/>
    <dgm:cxn modelId="{0D903D72-FDE5-4778-BDB7-2A45A862D942}" type="presOf" srcId="{B896DE45-D7BC-42AF-BC20-60AAC0AE97B8}" destId="{1BEBC046-B03D-447B-9BCD-06F0FF989C7A}" srcOrd="0" destOrd="0" presId="urn:microsoft.com/office/officeart/2005/8/layout/vList2"/>
    <dgm:cxn modelId="{25D475D7-C64B-429B-9D3B-ECD3AD7284FF}" srcId="{9F7E31CB-5D80-4B46-8006-E28072C1B972}" destId="{8C8C0C04-E055-4EB0-80EA-730F37425C55}" srcOrd="0" destOrd="0" parTransId="{A8FF0A3E-DDC9-4D66-9DD4-5EB723B4911B}" sibTransId="{4D1C8387-6A12-49F2-A821-43DD44ADFE14}"/>
    <dgm:cxn modelId="{4B4280AF-63BD-42E0-ABE9-940842B212A6}" type="presOf" srcId="{6E964EA3-FB45-4DA8-96EB-1963F490D1DA}" destId="{C30CC04E-3FA5-48A3-A7CC-978E0E112F77}" srcOrd="0" destOrd="0" presId="urn:microsoft.com/office/officeart/2005/8/layout/vList2"/>
    <dgm:cxn modelId="{D795E5A2-BD67-46C0-A27F-4B2A7686C23C}" type="presOf" srcId="{9F7E31CB-5D80-4B46-8006-E28072C1B972}" destId="{A0CDDD3F-D725-4EA6-A545-9C3088BB09F7}" srcOrd="0" destOrd="0" presId="urn:microsoft.com/office/officeart/2005/8/layout/vList2"/>
    <dgm:cxn modelId="{6F1AB2A3-B254-4419-B743-E408C4C3F79B}" srcId="{8C8C0C04-E055-4EB0-80EA-730F37425C55}" destId="{EA94ECF5-43F0-478F-9533-7E6AAE1C309F}" srcOrd="0" destOrd="0" parTransId="{9307C7C4-DDD9-43F1-9F3D-6DEA750B4AE9}" sibTransId="{CA7DDD68-96D1-4B56-82FF-2383833AE2E0}"/>
    <dgm:cxn modelId="{8A72EE85-9A83-401A-93DA-49DFB723E818}" type="presParOf" srcId="{A0CDDD3F-D725-4EA6-A545-9C3088BB09F7}" destId="{0D2E8F62-064D-4E4D-B313-7141E2686885}" srcOrd="0" destOrd="0" presId="urn:microsoft.com/office/officeart/2005/8/layout/vList2"/>
    <dgm:cxn modelId="{EEA5BF0F-6027-45C1-8A1C-49C125A75A31}" type="presParOf" srcId="{A0CDDD3F-D725-4EA6-A545-9C3088BB09F7}" destId="{0A67EB03-220D-459E-AD16-7C325C118B42}" srcOrd="1" destOrd="0" presId="urn:microsoft.com/office/officeart/2005/8/layout/vList2"/>
    <dgm:cxn modelId="{B3E13373-E887-4FA8-A8AA-83AB7EB0B6DE}" type="presParOf" srcId="{A0CDDD3F-D725-4EA6-A545-9C3088BB09F7}" destId="{1BEBC046-B03D-447B-9BCD-06F0FF989C7A}" srcOrd="2" destOrd="0" presId="urn:microsoft.com/office/officeart/2005/8/layout/vList2"/>
    <dgm:cxn modelId="{F43EA93C-D103-433F-9160-68DA2D07E546}" type="presParOf" srcId="{A0CDDD3F-D725-4EA6-A545-9C3088BB09F7}" destId="{C30CC04E-3FA5-48A3-A7CC-978E0E112F77}"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E674E3E-4189-4753-B565-080AB5587480}" type="doc">
      <dgm:prSet loTypeId="urn:microsoft.com/office/officeart/2008/layout/VerticalCurvedList" loCatId="list" qsTypeId="urn:microsoft.com/office/officeart/2005/8/quickstyle/simple3" qsCatId="simple" csTypeId="urn:microsoft.com/office/officeart/2005/8/colors/accent1_2" csCatId="accent1" phldr="1"/>
      <dgm:spPr/>
      <dgm:t>
        <a:bodyPr/>
        <a:lstStyle/>
        <a:p>
          <a:endParaRPr lang="ru-UA"/>
        </a:p>
      </dgm:t>
    </dgm:pt>
    <dgm:pt modelId="{C6B65986-93E3-4994-B32C-FF536FABBB62}">
      <dgm:prSet phldrT="[Текст]"/>
      <dgm:spPr/>
      <dgm:t>
        <a:bodyPr/>
        <a:lstStyle/>
        <a:p>
          <a:r>
            <a:rPr lang="uk-UA" b="1" i="0" noProof="0" dirty="0"/>
            <a:t>Неможливість забезпечення працівника роботою, визначеною трудовим договором, у зв’язку із знищенням (відсутністю) виробничих, організаційних та технічних умов, засобів виробництва або майна роботодавця внаслідок бойових дій.</a:t>
          </a:r>
          <a:endParaRPr lang="uk-UA" noProof="0" dirty="0"/>
        </a:p>
      </dgm:t>
    </dgm:pt>
    <dgm:pt modelId="{8E3DC667-D667-4F75-8774-AFFD2788E919}" type="parTrans" cxnId="{4D3DEB5B-A55D-444D-8990-D4BE5300BD5F}">
      <dgm:prSet/>
      <dgm:spPr/>
      <dgm:t>
        <a:bodyPr/>
        <a:lstStyle/>
        <a:p>
          <a:endParaRPr lang="ru-UA"/>
        </a:p>
      </dgm:t>
    </dgm:pt>
    <dgm:pt modelId="{B21A1813-0A18-4D9C-89A9-5C497E6971A4}" type="sibTrans" cxnId="{4D3DEB5B-A55D-444D-8990-D4BE5300BD5F}">
      <dgm:prSet/>
      <dgm:spPr/>
      <dgm:t>
        <a:bodyPr/>
        <a:lstStyle/>
        <a:p>
          <a:endParaRPr lang="ru-UA"/>
        </a:p>
      </dgm:t>
    </dgm:pt>
    <dgm:pt modelId="{4A68C926-A9ED-4502-8C44-0D122D2A7D77}">
      <dgm:prSet phldrT="[Текст]"/>
      <dgm:spPr/>
      <dgm:t>
        <a:bodyPr/>
        <a:lstStyle/>
        <a:p>
          <a:pPr>
            <a:buFont typeface="Arial" panose="020B0604020202020204" pitchFamily="34" charset="0"/>
            <a:buChar char="•"/>
          </a:pPr>
          <a:r>
            <a:rPr lang="uk-UA" b="0" i="0" noProof="0" dirty="0"/>
            <a:t>матеріали технічної інвентаризації, що засвідчують факт знищення майна;</a:t>
          </a:r>
          <a:endParaRPr lang="uk-UA" noProof="0" dirty="0"/>
        </a:p>
      </dgm:t>
    </dgm:pt>
    <dgm:pt modelId="{94634080-8914-4AB7-B391-7A57E82BC0CC}" type="parTrans" cxnId="{A9050FDC-F592-4F48-A89A-49B7A5F90E8C}">
      <dgm:prSet/>
      <dgm:spPr/>
      <dgm:t>
        <a:bodyPr/>
        <a:lstStyle/>
        <a:p>
          <a:endParaRPr lang="ru-UA"/>
        </a:p>
      </dgm:t>
    </dgm:pt>
    <dgm:pt modelId="{4E2FB010-F460-4370-BF7D-73E3A307A81A}" type="sibTrans" cxnId="{A9050FDC-F592-4F48-A89A-49B7A5F90E8C}">
      <dgm:prSet/>
      <dgm:spPr/>
      <dgm:t>
        <a:bodyPr/>
        <a:lstStyle/>
        <a:p>
          <a:endParaRPr lang="ru-UA"/>
        </a:p>
      </dgm:t>
    </dgm:pt>
    <dgm:pt modelId="{AE20B033-A77F-49F4-9FB2-3652CCABD577}">
      <dgm:prSet/>
      <dgm:spPr/>
      <dgm:t>
        <a:bodyPr/>
        <a:lstStyle/>
        <a:p>
          <a:pPr>
            <a:buFont typeface="Arial" panose="020B0604020202020204" pitchFamily="34" charset="0"/>
            <a:buChar char="•"/>
          </a:pPr>
          <a:r>
            <a:rPr lang="uk-UA" b="0" i="0" noProof="0" dirty="0"/>
            <a:t>довідки органів внутрішніх справ України; </a:t>
          </a:r>
        </a:p>
      </dgm:t>
    </dgm:pt>
    <dgm:pt modelId="{8AD5BD95-DB3E-4195-A643-EF6D6845E767}" type="parTrans" cxnId="{85FED6FF-11B5-4F1E-92B8-C40018B07878}">
      <dgm:prSet/>
      <dgm:spPr/>
      <dgm:t>
        <a:bodyPr/>
        <a:lstStyle/>
        <a:p>
          <a:endParaRPr lang="ru-UA"/>
        </a:p>
      </dgm:t>
    </dgm:pt>
    <dgm:pt modelId="{7F24A07F-A681-478A-8845-BE0B5BACB21B}" type="sibTrans" cxnId="{85FED6FF-11B5-4F1E-92B8-C40018B07878}">
      <dgm:prSet/>
      <dgm:spPr/>
      <dgm:t>
        <a:bodyPr/>
        <a:lstStyle/>
        <a:p>
          <a:endParaRPr lang="ru-UA"/>
        </a:p>
      </dgm:t>
    </dgm:pt>
    <dgm:pt modelId="{DF5B9CCB-EE15-4AE9-AD30-CB8356584E91}">
      <dgm:prSet/>
      <dgm:spPr/>
      <dgm:t>
        <a:bodyPr/>
        <a:lstStyle/>
        <a:p>
          <a:pPr>
            <a:buFont typeface="Arial" panose="020B0604020202020204" pitchFamily="34" charset="0"/>
            <a:buChar char="•"/>
          </a:pPr>
          <a:r>
            <a:rPr lang="uk-UA" b="0" i="0" noProof="0" dirty="0"/>
            <a:t>акт про пожежу;</a:t>
          </a:r>
        </a:p>
      </dgm:t>
    </dgm:pt>
    <dgm:pt modelId="{DAEC936C-71CB-4359-8DAC-DF1568529011}" type="parTrans" cxnId="{625331AE-5D66-4B5D-8CC0-774A30EBDA42}">
      <dgm:prSet/>
      <dgm:spPr/>
      <dgm:t>
        <a:bodyPr/>
        <a:lstStyle/>
        <a:p>
          <a:endParaRPr lang="ru-UA"/>
        </a:p>
      </dgm:t>
    </dgm:pt>
    <dgm:pt modelId="{5E39EA4D-977D-4CD3-8EED-D88201493FED}" type="sibTrans" cxnId="{625331AE-5D66-4B5D-8CC0-774A30EBDA42}">
      <dgm:prSet/>
      <dgm:spPr/>
      <dgm:t>
        <a:bodyPr/>
        <a:lstStyle/>
        <a:p>
          <a:endParaRPr lang="ru-UA"/>
        </a:p>
      </dgm:t>
    </dgm:pt>
    <dgm:pt modelId="{EB644D5E-F381-4FDD-B4CB-93195C9D8438}">
      <dgm:prSet/>
      <dgm:spPr/>
      <dgm:t>
        <a:bodyPr/>
        <a:lstStyle/>
        <a:p>
          <a:pPr>
            <a:buFont typeface="Arial" panose="020B0604020202020204" pitchFamily="34" charset="0"/>
            <a:buChar char="•"/>
          </a:pPr>
          <a:r>
            <a:rPr lang="uk-UA" b="0" i="0" noProof="0" dirty="0"/>
            <a:t>офіційні висновки інших установ або організацій, які відповідно до законодавства уповноважені засвідчувати факт знищення майна тощо</a:t>
          </a:r>
        </a:p>
      </dgm:t>
    </dgm:pt>
    <dgm:pt modelId="{964EDEB6-711C-40CA-B97C-5FB3D14CF44D}" type="parTrans" cxnId="{FC628ABF-D93A-4509-882E-9411994B7B9E}">
      <dgm:prSet/>
      <dgm:spPr/>
      <dgm:t>
        <a:bodyPr/>
        <a:lstStyle/>
        <a:p>
          <a:endParaRPr lang="ru-UA"/>
        </a:p>
      </dgm:t>
    </dgm:pt>
    <dgm:pt modelId="{A34033D5-41E8-4734-A9E9-B2C57B12FD89}" type="sibTrans" cxnId="{FC628ABF-D93A-4509-882E-9411994B7B9E}">
      <dgm:prSet/>
      <dgm:spPr/>
      <dgm:t>
        <a:bodyPr/>
        <a:lstStyle/>
        <a:p>
          <a:endParaRPr lang="ru-UA"/>
        </a:p>
      </dgm:t>
    </dgm:pt>
    <dgm:pt modelId="{69C5F98E-A705-4481-85EB-9B7F11A55F7A}" type="pres">
      <dgm:prSet presAssocID="{AE674E3E-4189-4753-B565-080AB5587480}" presName="Name0" presStyleCnt="0">
        <dgm:presLayoutVars>
          <dgm:chMax val="7"/>
          <dgm:chPref val="7"/>
          <dgm:dir/>
        </dgm:presLayoutVars>
      </dgm:prSet>
      <dgm:spPr/>
      <dgm:t>
        <a:bodyPr/>
        <a:lstStyle/>
        <a:p>
          <a:endParaRPr lang="en-US"/>
        </a:p>
      </dgm:t>
    </dgm:pt>
    <dgm:pt modelId="{DFF58809-CF26-42A6-A4B3-2D1B8EC242B1}" type="pres">
      <dgm:prSet presAssocID="{AE674E3E-4189-4753-B565-080AB5587480}" presName="Name1" presStyleCnt="0"/>
      <dgm:spPr/>
    </dgm:pt>
    <dgm:pt modelId="{3095650F-4999-496A-B8BF-123889A6AE18}" type="pres">
      <dgm:prSet presAssocID="{AE674E3E-4189-4753-B565-080AB5587480}" presName="cycle" presStyleCnt="0"/>
      <dgm:spPr/>
    </dgm:pt>
    <dgm:pt modelId="{28DC13AD-0E90-4C04-BF7E-C4A603760856}" type="pres">
      <dgm:prSet presAssocID="{AE674E3E-4189-4753-B565-080AB5587480}" presName="srcNode" presStyleLbl="node1" presStyleIdx="0" presStyleCnt="5"/>
      <dgm:spPr/>
    </dgm:pt>
    <dgm:pt modelId="{26D5D76B-DF2D-4AC5-BC5C-4DC5F2CDA9BF}" type="pres">
      <dgm:prSet presAssocID="{AE674E3E-4189-4753-B565-080AB5587480}" presName="conn" presStyleLbl="parChTrans1D2" presStyleIdx="0" presStyleCnt="1"/>
      <dgm:spPr/>
      <dgm:t>
        <a:bodyPr/>
        <a:lstStyle/>
        <a:p>
          <a:endParaRPr lang="en-US"/>
        </a:p>
      </dgm:t>
    </dgm:pt>
    <dgm:pt modelId="{A4F99143-8ED2-4F09-8CDF-1231E318B1FB}" type="pres">
      <dgm:prSet presAssocID="{AE674E3E-4189-4753-B565-080AB5587480}" presName="extraNode" presStyleLbl="node1" presStyleIdx="0" presStyleCnt="5"/>
      <dgm:spPr/>
    </dgm:pt>
    <dgm:pt modelId="{1C407A02-7758-488C-B3E4-A854A85C96D0}" type="pres">
      <dgm:prSet presAssocID="{AE674E3E-4189-4753-B565-080AB5587480}" presName="dstNode" presStyleLbl="node1" presStyleIdx="0" presStyleCnt="5"/>
      <dgm:spPr/>
    </dgm:pt>
    <dgm:pt modelId="{BD40D14A-1552-45F8-B646-25EC345927D3}" type="pres">
      <dgm:prSet presAssocID="{C6B65986-93E3-4994-B32C-FF536FABBB62}" presName="text_1" presStyleLbl="node1" presStyleIdx="0" presStyleCnt="5">
        <dgm:presLayoutVars>
          <dgm:bulletEnabled val="1"/>
        </dgm:presLayoutVars>
      </dgm:prSet>
      <dgm:spPr/>
      <dgm:t>
        <a:bodyPr/>
        <a:lstStyle/>
        <a:p>
          <a:endParaRPr lang="en-US"/>
        </a:p>
      </dgm:t>
    </dgm:pt>
    <dgm:pt modelId="{4FCDA249-E8B1-41DB-A07B-392E8E4787D4}" type="pres">
      <dgm:prSet presAssocID="{C6B65986-93E3-4994-B32C-FF536FABBB62}" presName="accent_1" presStyleCnt="0"/>
      <dgm:spPr/>
    </dgm:pt>
    <dgm:pt modelId="{ECC955C3-5D34-4FC6-A818-F49825C32922}" type="pres">
      <dgm:prSet presAssocID="{C6B65986-93E3-4994-B32C-FF536FABBB62}" presName="accentRepeatNode" presStyleLbl="solidFgAcc1" presStyleIdx="0" presStyleCnt="5"/>
      <dgm:spPr/>
    </dgm:pt>
    <dgm:pt modelId="{DD37329B-C813-401D-8DF3-678E96FC6A44}" type="pres">
      <dgm:prSet presAssocID="{4A68C926-A9ED-4502-8C44-0D122D2A7D77}" presName="text_2" presStyleLbl="node1" presStyleIdx="1" presStyleCnt="5">
        <dgm:presLayoutVars>
          <dgm:bulletEnabled val="1"/>
        </dgm:presLayoutVars>
      </dgm:prSet>
      <dgm:spPr/>
      <dgm:t>
        <a:bodyPr/>
        <a:lstStyle/>
        <a:p>
          <a:endParaRPr lang="en-US"/>
        </a:p>
      </dgm:t>
    </dgm:pt>
    <dgm:pt modelId="{3B81D654-69FC-4657-BCE5-38C29AE4F254}" type="pres">
      <dgm:prSet presAssocID="{4A68C926-A9ED-4502-8C44-0D122D2A7D77}" presName="accent_2" presStyleCnt="0"/>
      <dgm:spPr/>
    </dgm:pt>
    <dgm:pt modelId="{3326FFFF-65EA-4C8F-9DDB-09F5C782EB13}" type="pres">
      <dgm:prSet presAssocID="{4A68C926-A9ED-4502-8C44-0D122D2A7D77}" presName="accentRepeatNode" presStyleLbl="solidFgAcc1" presStyleIdx="1" presStyleCnt="5"/>
      <dgm:spPr/>
    </dgm:pt>
    <dgm:pt modelId="{24F83A84-A2D0-4F1A-9E19-08F42F23C634}" type="pres">
      <dgm:prSet presAssocID="{AE20B033-A77F-49F4-9FB2-3652CCABD577}" presName="text_3" presStyleLbl="node1" presStyleIdx="2" presStyleCnt="5">
        <dgm:presLayoutVars>
          <dgm:bulletEnabled val="1"/>
        </dgm:presLayoutVars>
      </dgm:prSet>
      <dgm:spPr/>
      <dgm:t>
        <a:bodyPr/>
        <a:lstStyle/>
        <a:p>
          <a:endParaRPr lang="en-US"/>
        </a:p>
      </dgm:t>
    </dgm:pt>
    <dgm:pt modelId="{DF22488F-4106-4FB2-A78F-9286817E70FF}" type="pres">
      <dgm:prSet presAssocID="{AE20B033-A77F-49F4-9FB2-3652CCABD577}" presName="accent_3" presStyleCnt="0"/>
      <dgm:spPr/>
    </dgm:pt>
    <dgm:pt modelId="{ADAD3CFB-1C50-4FC6-827E-DEAA04F6764B}" type="pres">
      <dgm:prSet presAssocID="{AE20B033-A77F-49F4-9FB2-3652CCABD577}" presName="accentRepeatNode" presStyleLbl="solidFgAcc1" presStyleIdx="2" presStyleCnt="5"/>
      <dgm:spPr/>
    </dgm:pt>
    <dgm:pt modelId="{E88B491D-EB04-4CCF-A305-58B35E69B3D8}" type="pres">
      <dgm:prSet presAssocID="{DF5B9CCB-EE15-4AE9-AD30-CB8356584E91}" presName="text_4" presStyleLbl="node1" presStyleIdx="3" presStyleCnt="5">
        <dgm:presLayoutVars>
          <dgm:bulletEnabled val="1"/>
        </dgm:presLayoutVars>
      </dgm:prSet>
      <dgm:spPr/>
      <dgm:t>
        <a:bodyPr/>
        <a:lstStyle/>
        <a:p>
          <a:endParaRPr lang="en-US"/>
        </a:p>
      </dgm:t>
    </dgm:pt>
    <dgm:pt modelId="{1BC8F973-BC51-439F-BFE0-810BE566F833}" type="pres">
      <dgm:prSet presAssocID="{DF5B9CCB-EE15-4AE9-AD30-CB8356584E91}" presName="accent_4" presStyleCnt="0"/>
      <dgm:spPr/>
    </dgm:pt>
    <dgm:pt modelId="{42E035BA-DFFF-463F-AFEA-72211528FA62}" type="pres">
      <dgm:prSet presAssocID="{DF5B9CCB-EE15-4AE9-AD30-CB8356584E91}" presName="accentRepeatNode" presStyleLbl="solidFgAcc1" presStyleIdx="3" presStyleCnt="5"/>
      <dgm:spPr/>
    </dgm:pt>
    <dgm:pt modelId="{E7744179-C827-4CAC-A6FF-0C749238C7B2}" type="pres">
      <dgm:prSet presAssocID="{EB644D5E-F381-4FDD-B4CB-93195C9D8438}" presName="text_5" presStyleLbl="node1" presStyleIdx="4" presStyleCnt="5">
        <dgm:presLayoutVars>
          <dgm:bulletEnabled val="1"/>
        </dgm:presLayoutVars>
      </dgm:prSet>
      <dgm:spPr/>
      <dgm:t>
        <a:bodyPr/>
        <a:lstStyle/>
        <a:p>
          <a:endParaRPr lang="en-US"/>
        </a:p>
      </dgm:t>
    </dgm:pt>
    <dgm:pt modelId="{822582F4-EC6E-475B-AE78-64C3BD04C5B0}" type="pres">
      <dgm:prSet presAssocID="{EB644D5E-F381-4FDD-B4CB-93195C9D8438}" presName="accent_5" presStyleCnt="0"/>
      <dgm:spPr/>
    </dgm:pt>
    <dgm:pt modelId="{9FD937A0-DBBD-4759-9FDD-39C3064B336A}" type="pres">
      <dgm:prSet presAssocID="{EB644D5E-F381-4FDD-B4CB-93195C9D8438}" presName="accentRepeatNode" presStyleLbl="solidFgAcc1" presStyleIdx="4" presStyleCnt="5"/>
      <dgm:spPr/>
    </dgm:pt>
  </dgm:ptLst>
  <dgm:cxnLst>
    <dgm:cxn modelId="{BDAD654D-3DBC-48E9-82AE-237BE4461C4E}" type="presOf" srcId="{4A68C926-A9ED-4502-8C44-0D122D2A7D77}" destId="{DD37329B-C813-401D-8DF3-678E96FC6A44}" srcOrd="0" destOrd="0" presId="urn:microsoft.com/office/officeart/2008/layout/VerticalCurvedList"/>
    <dgm:cxn modelId="{290980FB-F09C-4755-BAFD-A32CA78F67A4}" type="presOf" srcId="{EB644D5E-F381-4FDD-B4CB-93195C9D8438}" destId="{E7744179-C827-4CAC-A6FF-0C749238C7B2}" srcOrd="0" destOrd="0" presId="urn:microsoft.com/office/officeart/2008/layout/VerticalCurvedList"/>
    <dgm:cxn modelId="{FC628ABF-D93A-4509-882E-9411994B7B9E}" srcId="{AE674E3E-4189-4753-B565-080AB5587480}" destId="{EB644D5E-F381-4FDD-B4CB-93195C9D8438}" srcOrd="4" destOrd="0" parTransId="{964EDEB6-711C-40CA-B97C-5FB3D14CF44D}" sibTransId="{A34033D5-41E8-4734-A9E9-B2C57B12FD89}"/>
    <dgm:cxn modelId="{625331AE-5D66-4B5D-8CC0-774A30EBDA42}" srcId="{AE674E3E-4189-4753-B565-080AB5587480}" destId="{DF5B9CCB-EE15-4AE9-AD30-CB8356584E91}" srcOrd="3" destOrd="0" parTransId="{DAEC936C-71CB-4359-8DAC-DF1568529011}" sibTransId="{5E39EA4D-977D-4CD3-8EED-D88201493FED}"/>
    <dgm:cxn modelId="{A9050FDC-F592-4F48-A89A-49B7A5F90E8C}" srcId="{AE674E3E-4189-4753-B565-080AB5587480}" destId="{4A68C926-A9ED-4502-8C44-0D122D2A7D77}" srcOrd="1" destOrd="0" parTransId="{94634080-8914-4AB7-B391-7A57E82BC0CC}" sibTransId="{4E2FB010-F460-4370-BF7D-73E3A307A81A}"/>
    <dgm:cxn modelId="{4D3DEB5B-A55D-444D-8990-D4BE5300BD5F}" srcId="{AE674E3E-4189-4753-B565-080AB5587480}" destId="{C6B65986-93E3-4994-B32C-FF536FABBB62}" srcOrd="0" destOrd="0" parTransId="{8E3DC667-D667-4F75-8774-AFFD2788E919}" sibTransId="{B21A1813-0A18-4D9C-89A9-5C497E6971A4}"/>
    <dgm:cxn modelId="{194A813B-E5E0-4C61-A76A-59FE310A56F4}" type="presOf" srcId="{C6B65986-93E3-4994-B32C-FF536FABBB62}" destId="{BD40D14A-1552-45F8-B646-25EC345927D3}" srcOrd="0" destOrd="0" presId="urn:microsoft.com/office/officeart/2008/layout/VerticalCurvedList"/>
    <dgm:cxn modelId="{9FC36377-CF35-4649-8F6B-53DDEDF95D29}" type="presOf" srcId="{DF5B9CCB-EE15-4AE9-AD30-CB8356584E91}" destId="{E88B491D-EB04-4CCF-A305-58B35E69B3D8}" srcOrd="0" destOrd="0" presId="urn:microsoft.com/office/officeart/2008/layout/VerticalCurvedList"/>
    <dgm:cxn modelId="{85FED6FF-11B5-4F1E-92B8-C40018B07878}" srcId="{AE674E3E-4189-4753-B565-080AB5587480}" destId="{AE20B033-A77F-49F4-9FB2-3652CCABD577}" srcOrd="2" destOrd="0" parTransId="{8AD5BD95-DB3E-4195-A643-EF6D6845E767}" sibTransId="{7F24A07F-A681-478A-8845-BE0B5BACB21B}"/>
    <dgm:cxn modelId="{DAB71236-2DF4-4515-BC0F-88D82E310CDF}" type="presOf" srcId="{AE674E3E-4189-4753-B565-080AB5587480}" destId="{69C5F98E-A705-4481-85EB-9B7F11A55F7A}" srcOrd="0" destOrd="0" presId="urn:microsoft.com/office/officeart/2008/layout/VerticalCurvedList"/>
    <dgm:cxn modelId="{4B93B51A-04D3-4FA4-B794-6CD9E8216416}" type="presOf" srcId="{B21A1813-0A18-4D9C-89A9-5C497E6971A4}" destId="{26D5D76B-DF2D-4AC5-BC5C-4DC5F2CDA9BF}" srcOrd="0" destOrd="0" presId="urn:microsoft.com/office/officeart/2008/layout/VerticalCurvedList"/>
    <dgm:cxn modelId="{362B7C4C-80F7-4D8F-B0F3-5FCC51F8BC26}" type="presOf" srcId="{AE20B033-A77F-49F4-9FB2-3652CCABD577}" destId="{24F83A84-A2D0-4F1A-9E19-08F42F23C634}" srcOrd="0" destOrd="0" presId="urn:microsoft.com/office/officeart/2008/layout/VerticalCurvedList"/>
    <dgm:cxn modelId="{B61AC4AC-0F91-413A-80C6-9616C4DB1FE6}" type="presParOf" srcId="{69C5F98E-A705-4481-85EB-9B7F11A55F7A}" destId="{DFF58809-CF26-42A6-A4B3-2D1B8EC242B1}" srcOrd="0" destOrd="0" presId="urn:microsoft.com/office/officeart/2008/layout/VerticalCurvedList"/>
    <dgm:cxn modelId="{6F67AFC4-C536-4019-8733-14583061497A}" type="presParOf" srcId="{DFF58809-CF26-42A6-A4B3-2D1B8EC242B1}" destId="{3095650F-4999-496A-B8BF-123889A6AE18}" srcOrd="0" destOrd="0" presId="urn:microsoft.com/office/officeart/2008/layout/VerticalCurvedList"/>
    <dgm:cxn modelId="{655DD695-0F2D-4D82-98E0-E793886D15F0}" type="presParOf" srcId="{3095650F-4999-496A-B8BF-123889A6AE18}" destId="{28DC13AD-0E90-4C04-BF7E-C4A603760856}" srcOrd="0" destOrd="0" presId="urn:microsoft.com/office/officeart/2008/layout/VerticalCurvedList"/>
    <dgm:cxn modelId="{8E5FB416-D9FB-4CA6-8E5F-DCD135FB0661}" type="presParOf" srcId="{3095650F-4999-496A-B8BF-123889A6AE18}" destId="{26D5D76B-DF2D-4AC5-BC5C-4DC5F2CDA9BF}" srcOrd="1" destOrd="0" presId="urn:microsoft.com/office/officeart/2008/layout/VerticalCurvedList"/>
    <dgm:cxn modelId="{80E256C0-42F9-4DD0-9601-721E986A1444}" type="presParOf" srcId="{3095650F-4999-496A-B8BF-123889A6AE18}" destId="{A4F99143-8ED2-4F09-8CDF-1231E318B1FB}" srcOrd="2" destOrd="0" presId="urn:microsoft.com/office/officeart/2008/layout/VerticalCurvedList"/>
    <dgm:cxn modelId="{C4B20619-716A-4957-ABC6-46F0999EB5B4}" type="presParOf" srcId="{3095650F-4999-496A-B8BF-123889A6AE18}" destId="{1C407A02-7758-488C-B3E4-A854A85C96D0}" srcOrd="3" destOrd="0" presId="urn:microsoft.com/office/officeart/2008/layout/VerticalCurvedList"/>
    <dgm:cxn modelId="{38F4E840-035D-4628-BA31-26EA8DE790AC}" type="presParOf" srcId="{DFF58809-CF26-42A6-A4B3-2D1B8EC242B1}" destId="{BD40D14A-1552-45F8-B646-25EC345927D3}" srcOrd="1" destOrd="0" presId="urn:microsoft.com/office/officeart/2008/layout/VerticalCurvedList"/>
    <dgm:cxn modelId="{8B2C2C95-CDF2-4C9E-AC87-C0C20C60FA01}" type="presParOf" srcId="{DFF58809-CF26-42A6-A4B3-2D1B8EC242B1}" destId="{4FCDA249-E8B1-41DB-A07B-392E8E4787D4}" srcOrd="2" destOrd="0" presId="urn:microsoft.com/office/officeart/2008/layout/VerticalCurvedList"/>
    <dgm:cxn modelId="{85E03727-1D64-4858-98CD-31E6EC449B67}" type="presParOf" srcId="{4FCDA249-E8B1-41DB-A07B-392E8E4787D4}" destId="{ECC955C3-5D34-4FC6-A818-F49825C32922}" srcOrd="0" destOrd="0" presId="urn:microsoft.com/office/officeart/2008/layout/VerticalCurvedList"/>
    <dgm:cxn modelId="{A6503296-B168-41ED-9E53-778403127336}" type="presParOf" srcId="{DFF58809-CF26-42A6-A4B3-2D1B8EC242B1}" destId="{DD37329B-C813-401D-8DF3-678E96FC6A44}" srcOrd="3" destOrd="0" presId="urn:microsoft.com/office/officeart/2008/layout/VerticalCurvedList"/>
    <dgm:cxn modelId="{3EABC1B5-D6C0-4A5A-8D5B-E2704CE01E0D}" type="presParOf" srcId="{DFF58809-CF26-42A6-A4B3-2D1B8EC242B1}" destId="{3B81D654-69FC-4657-BCE5-38C29AE4F254}" srcOrd="4" destOrd="0" presId="urn:microsoft.com/office/officeart/2008/layout/VerticalCurvedList"/>
    <dgm:cxn modelId="{7F11EEF0-39C6-42C0-87D0-754C22EA33B3}" type="presParOf" srcId="{3B81D654-69FC-4657-BCE5-38C29AE4F254}" destId="{3326FFFF-65EA-4C8F-9DDB-09F5C782EB13}" srcOrd="0" destOrd="0" presId="urn:microsoft.com/office/officeart/2008/layout/VerticalCurvedList"/>
    <dgm:cxn modelId="{9B1282FD-190D-4892-984D-B918F9CBD92A}" type="presParOf" srcId="{DFF58809-CF26-42A6-A4B3-2D1B8EC242B1}" destId="{24F83A84-A2D0-4F1A-9E19-08F42F23C634}" srcOrd="5" destOrd="0" presId="urn:microsoft.com/office/officeart/2008/layout/VerticalCurvedList"/>
    <dgm:cxn modelId="{55BAB773-93C5-4313-9201-6F32E48AFCE1}" type="presParOf" srcId="{DFF58809-CF26-42A6-A4B3-2D1B8EC242B1}" destId="{DF22488F-4106-4FB2-A78F-9286817E70FF}" srcOrd="6" destOrd="0" presId="urn:microsoft.com/office/officeart/2008/layout/VerticalCurvedList"/>
    <dgm:cxn modelId="{89D94F4F-C753-4969-939F-4834598A8D0A}" type="presParOf" srcId="{DF22488F-4106-4FB2-A78F-9286817E70FF}" destId="{ADAD3CFB-1C50-4FC6-827E-DEAA04F6764B}" srcOrd="0" destOrd="0" presId="urn:microsoft.com/office/officeart/2008/layout/VerticalCurvedList"/>
    <dgm:cxn modelId="{BAED7AB0-A36D-4DEC-824A-E7713B537738}" type="presParOf" srcId="{DFF58809-CF26-42A6-A4B3-2D1B8EC242B1}" destId="{E88B491D-EB04-4CCF-A305-58B35E69B3D8}" srcOrd="7" destOrd="0" presId="urn:microsoft.com/office/officeart/2008/layout/VerticalCurvedList"/>
    <dgm:cxn modelId="{B6BFABB6-C01B-49AD-B934-8D9E7B797C07}" type="presParOf" srcId="{DFF58809-CF26-42A6-A4B3-2D1B8EC242B1}" destId="{1BC8F973-BC51-439F-BFE0-810BE566F833}" srcOrd="8" destOrd="0" presId="urn:microsoft.com/office/officeart/2008/layout/VerticalCurvedList"/>
    <dgm:cxn modelId="{F341BACB-EBEB-4D4C-9CB2-234269050800}" type="presParOf" srcId="{1BC8F973-BC51-439F-BFE0-810BE566F833}" destId="{42E035BA-DFFF-463F-AFEA-72211528FA62}" srcOrd="0" destOrd="0" presId="urn:microsoft.com/office/officeart/2008/layout/VerticalCurvedList"/>
    <dgm:cxn modelId="{BBE9D54B-9C9C-4A7B-991E-4A803476B954}" type="presParOf" srcId="{DFF58809-CF26-42A6-A4B3-2D1B8EC242B1}" destId="{E7744179-C827-4CAC-A6FF-0C749238C7B2}" srcOrd="9" destOrd="0" presId="urn:microsoft.com/office/officeart/2008/layout/VerticalCurvedList"/>
    <dgm:cxn modelId="{33BA010C-FC48-4A09-A519-C89A1643C268}" type="presParOf" srcId="{DFF58809-CF26-42A6-A4B3-2D1B8EC242B1}" destId="{822582F4-EC6E-475B-AE78-64C3BD04C5B0}" srcOrd="10" destOrd="0" presId="urn:microsoft.com/office/officeart/2008/layout/VerticalCurvedList"/>
    <dgm:cxn modelId="{67640E8F-8B3F-4BD7-BF3B-BA163837986C}" type="presParOf" srcId="{822582F4-EC6E-475B-AE78-64C3BD04C5B0}" destId="{9FD937A0-DBBD-4759-9FDD-39C3064B336A}"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E674E3E-4189-4753-B565-080AB5587480}" type="doc">
      <dgm:prSet loTypeId="urn:microsoft.com/office/officeart/2008/layout/VerticalCurvedList" loCatId="list" qsTypeId="urn:microsoft.com/office/officeart/2005/8/quickstyle/simple3" qsCatId="simple" csTypeId="urn:microsoft.com/office/officeart/2005/8/colors/accent1_2" csCatId="accent1" phldr="1"/>
      <dgm:spPr/>
      <dgm:t>
        <a:bodyPr/>
        <a:lstStyle/>
        <a:p>
          <a:endParaRPr lang="ru-UA"/>
        </a:p>
      </dgm:t>
    </dgm:pt>
    <dgm:pt modelId="{BB59A6E6-6B37-4CBC-A732-F7423FBEB992}">
      <dgm:prSet/>
      <dgm:spPr/>
      <dgm:t>
        <a:bodyPr/>
        <a:lstStyle/>
        <a:p>
          <a:pPr>
            <a:buFont typeface="Arial" panose="020B0604020202020204" pitchFamily="34" charset="0"/>
            <a:buChar char="•"/>
          </a:pPr>
          <a:r>
            <a:rPr lang="ru-RU" b="0" i="0"/>
            <a:t>закладів дошкільної освіти;</a:t>
          </a:r>
        </a:p>
      </dgm:t>
    </dgm:pt>
    <dgm:pt modelId="{C28C4391-092F-442F-99D7-3BB9800F12FA}" type="parTrans" cxnId="{FAFA6595-729C-40DB-8B6A-5891E0E3B894}">
      <dgm:prSet/>
      <dgm:spPr/>
      <dgm:t>
        <a:bodyPr/>
        <a:lstStyle/>
        <a:p>
          <a:endParaRPr lang="ru-UA"/>
        </a:p>
      </dgm:t>
    </dgm:pt>
    <dgm:pt modelId="{46B67C73-B1CE-4F32-8626-06E9C00FED5B}" type="sibTrans" cxnId="{FAFA6595-729C-40DB-8B6A-5891E0E3B894}">
      <dgm:prSet/>
      <dgm:spPr/>
      <dgm:t>
        <a:bodyPr/>
        <a:lstStyle/>
        <a:p>
          <a:endParaRPr lang="ru-UA"/>
        </a:p>
      </dgm:t>
    </dgm:pt>
    <dgm:pt modelId="{9D1B5198-70D2-49D3-98B8-BA77D92CECB1}">
      <dgm:prSet/>
      <dgm:spPr/>
      <dgm:t>
        <a:bodyPr/>
        <a:lstStyle/>
        <a:p>
          <a:pPr>
            <a:buFont typeface="Arial" panose="020B0604020202020204" pitchFamily="34" charset="0"/>
            <a:buChar char="•"/>
          </a:pPr>
          <a:r>
            <a:rPr lang="ru-RU" b="0" i="0"/>
            <a:t>закладів позашкільної освіти;</a:t>
          </a:r>
        </a:p>
      </dgm:t>
    </dgm:pt>
    <dgm:pt modelId="{376BAD62-DF3E-47E7-AF02-A00FB03654F6}" type="parTrans" cxnId="{23E20342-2ACD-45AC-B77B-59F208C93618}">
      <dgm:prSet/>
      <dgm:spPr/>
      <dgm:t>
        <a:bodyPr/>
        <a:lstStyle/>
        <a:p>
          <a:endParaRPr lang="ru-UA"/>
        </a:p>
      </dgm:t>
    </dgm:pt>
    <dgm:pt modelId="{D07E854F-B55F-44C5-81D9-13B507A00653}" type="sibTrans" cxnId="{23E20342-2ACD-45AC-B77B-59F208C93618}">
      <dgm:prSet/>
      <dgm:spPr/>
      <dgm:t>
        <a:bodyPr/>
        <a:lstStyle/>
        <a:p>
          <a:endParaRPr lang="ru-UA"/>
        </a:p>
      </dgm:t>
    </dgm:pt>
    <dgm:pt modelId="{7C8C48AA-07AF-403E-AD1B-23D5A5ECAD16}">
      <dgm:prSet/>
      <dgm:spPr/>
      <dgm:t>
        <a:bodyPr/>
        <a:lstStyle/>
        <a:p>
          <a:pPr>
            <a:buFont typeface="Arial" panose="020B0604020202020204" pitchFamily="34" charset="0"/>
            <a:buChar char="•"/>
          </a:pPr>
          <a:r>
            <a:rPr lang="ru-RU" b="0" i="0"/>
            <a:t>закладів загальної середньої освіти, міжшкільних навчально-виробничих комбінатів;</a:t>
          </a:r>
        </a:p>
      </dgm:t>
    </dgm:pt>
    <dgm:pt modelId="{8E789DBD-5802-4286-A339-18191BAD8EC2}" type="parTrans" cxnId="{005695B6-5110-44EB-A557-BF145D9C8A12}">
      <dgm:prSet/>
      <dgm:spPr/>
      <dgm:t>
        <a:bodyPr/>
        <a:lstStyle/>
        <a:p>
          <a:endParaRPr lang="ru-UA"/>
        </a:p>
      </dgm:t>
    </dgm:pt>
    <dgm:pt modelId="{77CBF0C5-FE82-4429-9164-E198120E9192}" type="sibTrans" cxnId="{005695B6-5110-44EB-A557-BF145D9C8A12}">
      <dgm:prSet/>
      <dgm:spPr/>
      <dgm:t>
        <a:bodyPr/>
        <a:lstStyle/>
        <a:p>
          <a:endParaRPr lang="ru-UA"/>
        </a:p>
      </dgm:t>
    </dgm:pt>
    <dgm:pt modelId="{B2B7FCE1-1C32-4302-840F-CCA286E11E38}">
      <dgm:prSet/>
      <dgm:spPr/>
      <dgm:t>
        <a:bodyPr/>
        <a:lstStyle/>
        <a:p>
          <a:pPr>
            <a:buFont typeface="Arial" panose="020B0604020202020204" pitchFamily="34" charset="0"/>
            <a:buChar char="•"/>
          </a:pPr>
          <a:r>
            <a:rPr lang="ru-RU" b="0" i="0"/>
            <a:t>закладів вищої освіти, закладів післядипломної освіти, закладів професійної (професійно-технічної) освіти;</a:t>
          </a:r>
        </a:p>
      </dgm:t>
    </dgm:pt>
    <dgm:pt modelId="{9E1DAB79-BF5B-4E61-AFA0-265AD3ED2352}" type="parTrans" cxnId="{C3DABCB8-93BB-4BD2-992D-EC40AE7C05FA}">
      <dgm:prSet/>
      <dgm:spPr/>
      <dgm:t>
        <a:bodyPr/>
        <a:lstStyle/>
        <a:p>
          <a:endParaRPr lang="ru-UA"/>
        </a:p>
      </dgm:t>
    </dgm:pt>
    <dgm:pt modelId="{F2431F47-D545-4CA2-A446-D325A293E6CD}" type="sibTrans" cxnId="{C3DABCB8-93BB-4BD2-992D-EC40AE7C05FA}">
      <dgm:prSet/>
      <dgm:spPr/>
      <dgm:t>
        <a:bodyPr/>
        <a:lstStyle/>
        <a:p>
          <a:endParaRPr lang="ru-UA"/>
        </a:p>
      </dgm:t>
    </dgm:pt>
    <dgm:pt modelId="{54FEF9BE-123D-4540-8A38-82E57B4C5787}">
      <dgm:prSet/>
      <dgm:spPr/>
      <dgm:t>
        <a:bodyPr/>
        <a:lstStyle/>
        <a:p>
          <a:pPr>
            <a:buFont typeface="Arial" panose="020B0604020202020204" pitchFamily="34" charset="0"/>
            <a:buChar char="•"/>
          </a:pPr>
          <a:r>
            <a:rPr lang="ru-RU" b="0" i="0"/>
            <a:t>інших закладів освіти та установ, що провадять освітню діяльність;</a:t>
          </a:r>
        </a:p>
      </dgm:t>
    </dgm:pt>
    <dgm:pt modelId="{BB895B10-A664-4BED-B3A4-560A6992DE12}" type="parTrans" cxnId="{942548D5-F03C-447E-A4EB-723540840601}">
      <dgm:prSet/>
      <dgm:spPr/>
      <dgm:t>
        <a:bodyPr/>
        <a:lstStyle/>
        <a:p>
          <a:endParaRPr lang="ru-UA"/>
        </a:p>
      </dgm:t>
    </dgm:pt>
    <dgm:pt modelId="{A7007452-B6F1-496A-9C20-244DC72F6254}" type="sibTrans" cxnId="{942548D5-F03C-447E-A4EB-723540840601}">
      <dgm:prSet/>
      <dgm:spPr/>
      <dgm:t>
        <a:bodyPr/>
        <a:lstStyle/>
        <a:p>
          <a:endParaRPr lang="ru-UA"/>
        </a:p>
      </dgm:t>
    </dgm:pt>
    <dgm:pt modelId="{61751C4D-3F11-4B33-A77F-5344A1EF9F48}">
      <dgm:prSet/>
      <dgm:spPr/>
      <dgm:t>
        <a:bodyPr/>
        <a:lstStyle/>
        <a:p>
          <a:pPr>
            <a:buFont typeface="Arial" panose="020B0604020202020204" pitchFamily="34" charset="0"/>
            <a:buChar char="•"/>
          </a:pPr>
          <a:r>
            <a:rPr lang="ru-RU" b="0" i="0"/>
            <a:t>лікувально-профілактичних та санаторно-курортних закладів, будинків дитини;</a:t>
          </a:r>
        </a:p>
      </dgm:t>
    </dgm:pt>
    <dgm:pt modelId="{AC880595-B2F4-41D4-A543-CCADD8AAAE49}" type="parTrans" cxnId="{EFE80D61-68AB-4764-9211-A66868F93729}">
      <dgm:prSet/>
      <dgm:spPr/>
      <dgm:t>
        <a:bodyPr/>
        <a:lstStyle/>
        <a:p>
          <a:endParaRPr lang="ru-UA"/>
        </a:p>
      </dgm:t>
    </dgm:pt>
    <dgm:pt modelId="{4A5CB429-7631-4820-9ABD-D27F2071DD75}" type="sibTrans" cxnId="{EFE80D61-68AB-4764-9211-A66868F93729}">
      <dgm:prSet/>
      <dgm:spPr/>
      <dgm:t>
        <a:bodyPr/>
        <a:lstStyle/>
        <a:p>
          <a:endParaRPr lang="ru-UA"/>
        </a:p>
      </dgm:t>
    </dgm:pt>
    <dgm:pt modelId="{75007D9F-790D-4479-A9D1-56B1BFB4AF06}">
      <dgm:prSet/>
      <dgm:spPr/>
      <dgm:t>
        <a:bodyPr/>
        <a:lstStyle/>
        <a:p>
          <a:pPr>
            <a:buFont typeface="Arial" panose="020B0604020202020204" pitchFamily="34" charset="0"/>
            <a:buChar char="•"/>
          </a:pPr>
          <a:r>
            <a:rPr lang="ru-RU" b="0" i="0"/>
            <a:t>центрів реабілітації осіб з інвалідністю, дітей</a:t>
          </a:r>
        </a:p>
      </dgm:t>
    </dgm:pt>
    <dgm:pt modelId="{9D61E92D-1DD5-4D2E-A31B-0AAB17B394B4}" type="parTrans" cxnId="{9046376E-F1CB-41E4-9EEE-0D2DFA86119C}">
      <dgm:prSet/>
      <dgm:spPr/>
      <dgm:t>
        <a:bodyPr/>
        <a:lstStyle/>
        <a:p>
          <a:endParaRPr lang="ru-UA"/>
        </a:p>
      </dgm:t>
    </dgm:pt>
    <dgm:pt modelId="{57C9615B-4787-437B-A9F2-420BBA30D9B6}" type="sibTrans" cxnId="{9046376E-F1CB-41E4-9EEE-0D2DFA86119C}">
      <dgm:prSet/>
      <dgm:spPr/>
      <dgm:t>
        <a:bodyPr/>
        <a:lstStyle/>
        <a:p>
          <a:endParaRPr lang="ru-UA"/>
        </a:p>
      </dgm:t>
    </dgm:pt>
    <dgm:pt modelId="{69C5F98E-A705-4481-85EB-9B7F11A55F7A}" type="pres">
      <dgm:prSet presAssocID="{AE674E3E-4189-4753-B565-080AB5587480}" presName="Name0" presStyleCnt="0">
        <dgm:presLayoutVars>
          <dgm:chMax val="7"/>
          <dgm:chPref val="7"/>
          <dgm:dir/>
        </dgm:presLayoutVars>
      </dgm:prSet>
      <dgm:spPr/>
      <dgm:t>
        <a:bodyPr/>
        <a:lstStyle/>
        <a:p>
          <a:endParaRPr lang="en-US"/>
        </a:p>
      </dgm:t>
    </dgm:pt>
    <dgm:pt modelId="{DFF58809-CF26-42A6-A4B3-2D1B8EC242B1}" type="pres">
      <dgm:prSet presAssocID="{AE674E3E-4189-4753-B565-080AB5587480}" presName="Name1" presStyleCnt="0"/>
      <dgm:spPr/>
    </dgm:pt>
    <dgm:pt modelId="{3095650F-4999-496A-B8BF-123889A6AE18}" type="pres">
      <dgm:prSet presAssocID="{AE674E3E-4189-4753-B565-080AB5587480}" presName="cycle" presStyleCnt="0"/>
      <dgm:spPr/>
    </dgm:pt>
    <dgm:pt modelId="{28DC13AD-0E90-4C04-BF7E-C4A603760856}" type="pres">
      <dgm:prSet presAssocID="{AE674E3E-4189-4753-B565-080AB5587480}" presName="srcNode" presStyleLbl="node1" presStyleIdx="0" presStyleCnt="7"/>
      <dgm:spPr/>
    </dgm:pt>
    <dgm:pt modelId="{26D5D76B-DF2D-4AC5-BC5C-4DC5F2CDA9BF}" type="pres">
      <dgm:prSet presAssocID="{AE674E3E-4189-4753-B565-080AB5587480}" presName="conn" presStyleLbl="parChTrans1D2" presStyleIdx="0" presStyleCnt="1"/>
      <dgm:spPr/>
      <dgm:t>
        <a:bodyPr/>
        <a:lstStyle/>
        <a:p>
          <a:endParaRPr lang="en-US"/>
        </a:p>
      </dgm:t>
    </dgm:pt>
    <dgm:pt modelId="{A4F99143-8ED2-4F09-8CDF-1231E318B1FB}" type="pres">
      <dgm:prSet presAssocID="{AE674E3E-4189-4753-B565-080AB5587480}" presName="extraNode" presStyleLbl="node1" presStyleIdx="0" presStyleCnt="7"/>
      <dgm:spPr/>
    </dgm:pt>
    <dgm:pt modelId="{1C407A02-7758-488C-B3E4-A854A85C96D0}" type="pres">
      <dgm:prSet presAssocID="{AE674E3E-4189-4753-B565-080AB5587480}" presName="dstNode" presStyleLbl="node1" presStyleIdx="0" presStyleCnt="7"/>
      <dgm:spPr/>
    </dgm:pt>
    <dgm:pt modelId="{3B0BB715-0552-4395-B878-25C19DD90BAF}" type="pres">
      <dgm:prSet presAssocID="{BB59A6E6-6B37-4CBC-A732-F7423FBEB992}" presName="text_1" presStyleLbl="node1" presStyleIdx="0" presStyleCnt="7">
        <dgm:presLayoutVars>
          <dgm:bulletEnabled val="1"/>
        </dgm:presLayoutVars>
      </dgm:prSet>
      <dgm:spPr/>
      <dgm:t>
        <a:bodyPr/>
        <a:lstStyle/>
        <a:p>
          <a:endParaRPr lang="en-US"/>
        </a:p>
      </dgm:t>
    </dgm:pt>
    <dgm:pt modelId="{4C604848-88D4-4E83-AAEF-E26AB3469267}" type="pres">
      <dgm:prSet presAssocID="{BB59A6E6-6B37-4CBC-A732-F7423FBEB992}" presName="accent_1" presStyleCnt="0"/>
      <dgm:spPr/>
    </dgm:pt>
    <dgm:pt modelId="{48A2F3B9-E676-46B2-8503-2CBCCB844E7C}" type="pres">
      <dgm:prSet presAssocID="{BB59A6E6-6B37-4CBC-A732-F7423FBEB992}" presName="accentRepeatNode" presStyleLbl="solidFgAcc1" presStyleIdx="0" presStyleCnt="7"/>
      <dgm:spPr/>
    </dgm:pt>
    <dgm:pt modelId="{4218170E-CE44-442F-87F7-B3990906ECE3}" type="pres">
      <dgm:prSet presAssocID="{9D1B5198-70D2-49D3-98B8-BA77D92CECB1}" presName="text_2" presStyleLbl="node1" presStyleIdx="1" presStyleCnt="7">
        <dgm:presLayoutVars>
          <dgm:bulletEnabled val="1"/>
        </dgm:presLayoutVars>
      </dgm:prSet>
      <dgm:spPr/>
      <dgm:t>
        <a:bodyPr/>
        <a:lstStyle/>
        <a:p>
          <a:endParaRPr lang="en-US"/>
        </a:p>
      </dgm:t>
    </dgm:pt>
    <dgm:pt modelId="{89E7E545-CFC2-4D6B-9865-158A903CCD16}" type="pres">
      <dgm:prSet presAssocID="{9D1B5198-70D2-49D3-98B8-BA77D92CECB1}" presName="accent_2" presStyleCnt="0"/>
      <dgm:spPr/>
    </dgm:pt>
    <dgm:pt modelId="{FCA6BED0-7A3A-4C6E-84A5-7F3F608340FA}" type="pres">
      <dgm:prSet presAssocID="{9D1B5198-70D2-49D3-98B8-BA77D92CECB1}" presName="accentRepeatNode" presStyleLbl="solidFgAcc1" presStyleIdx="1" presStyleCnt="7"/>
      <dgm:spPr/>
    </dgm:pt>
    <dgm:pt modelId="{9DB6A7BA-7005-4F64-B940-EEF9D32C1920}" type="pres">
      <dgm:prSet presAssocID="{7C8C48AA-07AF-403E-AD1B-23D5A5ECAD16}" presName="text_3" presStyleLbl="node1" presStyleIdx="2" presStyleCnt="7">
        <dgm:presLayoutVars>
          <dgm:bulletEnabled val="1"/>
        </dgm:presLayoutVars>
      </dgm:prSet>
      <dgm:spPr/>
      <dgm:t>
        <a:bodyPr/>
        <a:lstStyle/>
        <a:p>
          <a:endParaRPr lang="en-US"/>
        </a:p>
      </dgm:t>
    </dgm:pt>
    <dgm:pt modelId="{EA63016B-271B-4A0D-8C3C-84D14F73EDA2}" type="pres">
      <dgm:prSet presAssocID="{7C8C48AA-07AF-403E-AD1B-23D5A5ECAD16}" presName="accent_3" presStyleCnt="0"/>
      <dgm:spPr/>
    </dgm:pt>
    <dgm:pt modelId="{365C7217-9AFE-4CF5-BEA7-44017CD66F8E}" type="pres">
      <dgm:prSet presAssocID="{7C8C48AA-07AF-403E-AD1B-23D5A5ECAD16}" presName="accentRepeatNode" presStyleLbl="solidFgAcc1" presStyleIdx="2" presStyleCnt="7"/>
      <dgm:spPr/>
    </dgm:pt>
    <dgm:pt modelId="{E37F734D-4C9B-4653-A074-B06A20C5E62B}" type="pres">
      <dgm:prSet presAssocID="{B2B7FCE1-1C32-4302-840F-CCA286E11E38}" presName="text_4" presStyleLbl="node1" presStyleIdx="3" presStyleCnt="7">
        <dgm:presLayoutVars>
          <dgm:bulletEnabled val="1"/>
        </dgm:presLayoutVars>
      </dgm:prSet>
      <dgm:spPr/>
      <dgm:t>
        <a:bodyPr/>
        <a:lstStyle/>
        <a:p>
          <a:endParaRPr lang="en-US"/>
        </a:p>
      </dgm:t>
    </dgm:pt>
    <dgm:pt modelId="{E7368CE9-CB40-4273-B0C3-99347CC1C161}" type="pres">
      <dgm:prSet presAssocID="{B2B7FCE1-1C32-4302-840F-CCA286E11E38}" presName="accent_4" presStyleCnt="0"/>
      <dgm:spPr/>
    </dgm:pt>
    <dgm:pt modelId="{EEEBD3BB-C623-451D-8ABF-41D51F1503E0}" type="pres">
      <dgm:prSet presAssocID="{B2B7FCE1-1C32-4302-840F-CCA286E11E38}" presName="accentRepeatNode" presStyleLbl="solidFgAcc1" presStyleIdx="3" presStyleCnt="7"/>
      <dgm:spPr/>
    </dgm:pt>
    <dgm:pt modelId="{D603FD33-D415-4B09-958B-7C8C0DE44A9E}" type="pres">
      <dgm:prSet presAssocID="{54FEF9BE-123D-4540-8A38-82E57B4C5787}" presName="text_5" presStyleLbl="node1" presStyleIdx="4" presStyleCnt="7">
        <dgm:presLayoutVars>
          <dgm:bulletEnabled val="1"/>
        </dgm:presLayoutVars>
      </dgm:prSet>
      <dgm:spPr/>
      <dgm:t>
        <a:bodyPr/>
        <a:lstStyle/>
        <a:p>
          <a:endParaRPr lang="en-US"/>
        </a:p>
      </dgm:t>
    </dgm:pt>
    <dgm:pt modelId="{D09EE297-AA25-43DE-9965-18FCEEA5C573}" type="pres">
      <dgm:prSet presAssocID="{54FEF9BE-123D-4540-8A38-82E57B4C5787}" presName="accent_5" presStyleCnt="0"/>
      <dgm:spPr/>
    </dgm:pt>
    <dgm:pt modelId="{C2C6F9E5-1B63-4E74-823A-BC41D5EA4914}" type="pres">
      <dgm:prSet presAssocID="{54FEF9BE-123D-4540-8A38-82E57B4C5787}" presName="accentRepeatNode" presStyleLbl="solidFgAcc1" presStyleIdx="4" presStyleCnt="7"/>
      <dgm:spPr/>
    </dgm:pt>
    <dgm:pt modelId="{C9D98C67-D4F9-4184-9B4C-17EED330D7BE}" type="pres">
      <dgm:prSet presAssocID="{61751C4D-3F11-4B33-A77F-5344A1EF9F48}" presName="text_6" presStyleLbl="node1" presStyleIdx="5" presStyleCnt="7">
        <dgm:presLayoutVars>
          <dgm:bulletEnabled val="1"/>
        </dgm:presLayoutVars>
      </dgm:prSet>
      <dgm:spPr/>
      <dgm:t>
        <a:bodyPr/>
        <a:lstStyle/>
        <a:p>
          <a:endParaRPr lang="en-US"/>
        </a:p>
      </dgm:t>
    </dgm:pt>
    <dgm:pt modelId="{FACF1CAB-6AAA-4AA4-BB71-E6FEC8B2A4BC}" type="pres">
      <dgm:prSet presAssocID="{61751C4D-3F11-4B33-A77F-5344A1EF9F48}" presName="accent_6" presStyleCnt="0"/>
      <dgm:spPr/>
    </dgm:pt>
    <dgm:pt modelId="{BE006B2D-7F1D-416F-9AF2-462ADA8D051F}" type="pres">
      <dgm:prSet presAssocID="{61751C4D-3F11-4B33-A77F-5344A1EF9F48}" presName="accentRepeatNode" presStyleLbl="solidFgAcc1" presStyleIdx="5" presStyleCnt="7"/>
      <dgm:spPr/>
    </dgm:pt>
    <dgm:pt modelId="{54A5CF6F-427D-48E6-B3FF-FD9906C1CC28}" type="pres">
      <dgm:prSet presAssocID="{75007D9F-790D-4479-A9D1-56B1BFB4AF06}" presName="text_7" presStyleLbl="node1" presStyleIdx="6" presStyleCnt="7">
        <dgm:presLayoutVars>
          <dgm:bulletEnabled val="1"/>
        </dgm:presLayoutVars>
      </dgm:prSet>
      <dgm:spPr/>
      <dgm:t>
        <a:bodyPr/>
        <a:lstStyle/>
        <a:p>
          <a:endParaRPr lang="en-US"/>
        </a:p>
      </dgm:t>
    </dgm:pt>
    <dgm:pt modelId="{914D7E8B-C622-4A36-AECD-8665BA6BDC8A}" type="pres">
      <dgm:prSet presAssocID="{75007D9F-790D-4479-A9D1-56B1BFB4AF06}" presName="accent_7" presStyleCnt="0"/>
      <dgm:spPr/>
    </dgm:pt>
    <dgm:pt modelId="{53AE026A-C757-4438-9761-0F3958253011}" type="pres">
      <dgm:prSet presAssocID="{75007D9F-790D-4479-A9D1-56B1BFB4AF06}" presName="accentRepeatNode" presStyleLbl="solidFgAcc1" presStyleIdx="6" presStyleCnt="7"/>
      <dgm:spPr/>
    </dgm:pt>
  </dgm:ptLst>
  <dgm:cxnLst>
    <dgm:cxn modelId="{447B1205-E26A-4413-A6C4-211B1D5D8D9B}" type="presOf" srcId="{61751C4D-3F11-4B33-A77F-5344A1EF9F48}" destId="{C9D98C67-D4F9-4184-9B4C-17EED330D7BE}" srcOrd="0" destOrd="0" presId="urn:microsoft.com/office/officeart/2008/layout/VerticalCurvedList"/>
    <dgm:cxn modelId="{CDA2B270-63BD-43F9-A0B1-C23F933478D1}" type="presOf" srcId="{B2B7FCE1-1C32-4302-840F-CCA286E11E38}" destId="{E37F734D-4C9B-4653-A074-B06A20C5E62B}" srcOrd="0" destOrd="0" presId="urn:microsoft.com/office/officeart/2008/layout/VerticalCurvedList"/>
    <dgm:cxn modelId="{4B6DB08D-A70E-4BEB-9F11-94296D4C9D58}" type="presOf" srcId="{54FEF9BE-123D-4540-8A38-82E57B4C5787}" destId="{D603FD33-D415-4B09-958B-7C8C0DE44A9E}" srcOrd="0" destOrd="0" presId="urn:microsoft.com/office/officeart/2008/layout/VerticalCurvedList"/>
    <dgm:cxn modelId="{005695B6-5110-44EB-A557-BF145D9C8A12}" srcId="{AE674E3E-4189-4753-B565-080AB5587480}" destId="{7C8C48AA-07AF-403E-AD1B-23D5A5ECAD16}" srcOrd="2" destOrd="0" parTransId="{8E789DBD-5802-4286-A339-18191BAD8EC2}" sibTransId="{77CBF0C5-FE82-4429-9164-E198120E9192}"/>
    <dgm:cxn modelId="{FAFA6595-729C-40DB-8B6A-5891E0E3B894}" srcId="{AE674E3E-4189-4753-B565-080AB5587480}" destId="{BB59A6E6-6B37-4CBC-A732-F7423FBEB992}" srcOrd="0" destOrd="0" parTransId="{C28C4391-092F-442F-99D7-3BB9800F12FA}" sibTransId="{46B67C73-B1CE-4F32-8626-06E9C00FED5B}"/>
    <dgm:cxn modelId="{942548D5-F03C-447E-A4EB-723540840601}" srcId="{AE674E3E-4189-4753-B565-080AB5587480}" destId="{54FEF9BE-123D-4540-8A38-82E57B4C5787}" srcOrd="4" destOrd="0" parTransId="{BB895B10-A664-4BED-B3A4-560A6992DE12}" sibTransId="{A7007452-B6F1-496A-9C20-244DC72F6254}"/>
    <dgm:cxn modelId="{C3DABCB8-93BB-4BD2-992D-EC40AE7C05FA}" srcId="{AE674E3E-4189-4753-B565-080AB5587480}" destId="{B2B7FCE1-1C32-4302-840F-CCA286E11E38}" srcOrd="3" destOrd="0" parTransId="{9E1DAB79-BF5B-4E61-AFA0-265AD3ED2352}" sibTransId="{F2431F47-D545-4CA2-A446-D325A293E6CD}"/>
    <dgm:cxn modelId="{B61E83D0-F730-4179-A0D6-23B0D36CAEFC}" type="presOf" srcId="{9D1B5198-70D2-49D3-98B8-BA77D92CECB1}" destId="{4218170E-CE44-442F-87F7-B3990906ECE3}" srcOrd="0" destOrd="0" presId="urn:microsoft.com/office/officeart/2008/layout/VerticalCurvedList"/>
    <dgm:cxn modelId="{9046376E-F1CB-41E4-9EEE-0D2DFA86119C}" srcId="{AE674E3E-4189-4753-B565-080AB5587480}" destId="{75007D9F-790D-4479-A9D1-56B1BFB4AF06}" srcOrd="6" destOrd="0" parTransId="{9D61E92D-1DD5-4D2E-A31B-0AAB17B394B4}" sibTransId="{57C9615B-4787-437B-A9F2-420BBA30D9B6}"/>
    <dgm:cxn modelId="{EA548E04-B6AB-4D48-B7BF-1CF2B444AED3}" type="presOf" srcId="{75007D9F-790D-4479-A9D1-56B1BFB4AF06}" destId="{54A5CF6F-427D-48E6-B3FF-FD9906C1CC28}" srcOrd="0" destOrd="0" presId="urn:microsoft.com/office/officeart/2008/layout/VerticalCurvedList"/>
    <dgm:cxn modelId="{EFE80D61-68AB-4764-9211-A66868F93729}" srcId="{AE674E3E-4189-4753-B565-080AB5587480}" destId="{61751C4D-3F11-4B33-A77F-5344A1EF9F48}" srcOrd="5" destOrd="0" parTransId="{AC880595-B2F4-41D4-A543-CCADD8AAAE49}" sibTransId="{4A5CB429-7631-4820-9ABD-D27F2071DD75}"/>
    <dgm:cxn modelId="{C0922D00-47B3-4299-8509-24FAE3E0887E}" type="presOf" srcId="{46B67C73-B1CE-4F32-8626-06E9C00FED5B}" destId="{26D5D76B-DF2D-4AC5-BC5C-4DC5F2CDA9BF}" srcOrd="0" destOrd="0" presId="urn:microsoft.com/office/officeart/2008/layout/VerticalCurvedList"/>
    <dgm:cxn modelId="{DC0DDF27-2956-49B3-915B-3D39B75FA925}" type="presOf" srcId="{7C8C48AA-07AF-403E-AD1B-23D5A5ECAD16}" destId="{9DB6A7BA-7005-4F64-B940-EEF9D32C1920}" srcOrd="0" destOrd="0" presId="urn:microsoft.com/office/officeart/2008/layout/VerticalCurvedList"/>
    <dgm:cxn modelId="{1C4B32E8-D5D6-4461-BE1D-72AAE4DB02DC}" type="presOf" srcId="{BB59A6E6-6B37-4CBC-A732-F7423FBEB992}" destId="{3B0BB715-0552-4395-B878-25C19DD90BAF}" srcOrd="0" destOrd="0" presId="urn:microsoft.com/office/officeart/2008/layout/VerticalCurvedList"/>
    <dgm:cxn modelId="{DAB71236-2DF4-4515-BC0F-88D82E310CDF}" type="presOf" srcId="{AE674E3E-4189-4753-B565-080AB5587480}" destId="{69C5F98E-A705-4481-85EB-9B7F11A55F7A}" srcOrd="0" destOrd="0" presId="urn:microsoft.com/office/officeart/2008/layout/VerticalCurvedList"/>
    <dgm:cxn modelId="{23E20342-2ACD-45AC-B77B-59F208C93618}" srcId="{AE674E3E-4189-4753-B565-080AB5587480}" destId="{9D1B5198-70D2-49D3-98B8-BA77D92CECB1}" srcOrd="1" destOrd="0" parTransId="{376BAD62-DF3E-47E7-AF02-A00FB03654F6}" sibTransId="{D07E854F-B55F-44C5-81D9-13B507A00653}"/>
    <dgm:cxn modelId="{B61AC4AC-0F91-413A-80C6-9616C4DB1FE6}" type="presParOf" srcId="{69C5F98E-A705-4481-85EB-9B7F11A55F7A}" destId="{DFF58809-CF26-42A6-A4B3-2D1B8EC242B1}" srcOrd="0" destOrd="0" presId="urn:microsoft.com/office/officeart/2008/layout/VerticalCurvedList"/>
    <dgm:cxn modelId="{6F67AFC4-C536-4019-8733-14583061497A}" type="presParOf" srcId="{DFF58809-CF26-42A6-A4B3-2D1B8EC242B1}" destId="{3095650F-4999-496A-B8BF-123889A6AE18}" srcOrd="0" destOrd="0" presId="urn:microsoft.com/office/officeart/2008/layout/VerticalCurvedList"/>
    <dgm:cxn modelId="{655DD695-0F2D-4D82-98E0-E793886D15F0}" type="presParOf" srcId="{3095650F-4999-496A-B8BF-123889A6AE18}" destId="{28DC13AD-0E90-4C04-BF7E-C4A603760856}" srcOrd="0" destOrd="0" presId="urn:microsoft.com/office/officeart/2008/layout/VerticalCurvedList"/>
    <dgm:cxn modelId="{8E5FB416-D9FB-4CA6-8E5F-DCD135FB0661}" type="presParOf" srcId="{3095650F-4999-496A-B8BF-123889A6AE18}" destId="{26D5D76B-DF2D-4AC5-BC5C-4DC5F2CDA9BF}" srcOrd="1" destOrd="0" presId="urn:microsoft.com/office/officeart/2008/layout/VerticalCurvedList"/>
    <dgm:cxn modelId="{80E256C0-42F9-4DD0-9601-721E986A1444}" type="presParOf" srcId="{3095650F-4999-496A-B8BF-123889A6AE18}" destId="{A4F99143-8ED2-4F09-8CDF-1231E318B1FB}" srcOrd="2" destOrd="0" presId="urn:microsoft.com/office/officeart/2008/layout/VerticalCurvedList"/>
    <dgm:cxn modelId="{C4B20619-716A-4957-ABC6-46F0999EB5B4}" type="presParOf" srcId="{3095650F-4999-496A-B8BF-123889A6AE18}" destId="{1C407A02-7758-488C-B3E4-A854A85C96D0}" srcOrd="3" destOrd="0" presId="urn:microsoft.com/office/officeart/2008/layout/VerticalCurvedList"/>
    <dgm:cxn modelId="{8F333431-1E42-4DE1-99D2-07FC11A1A634}" type="presParOf" srcId="{DFF58809-CF26-42A6-A4B3-2D1B8EC242B1}" destId="{3B0BB715-0552-4395-B878-25C19DD90BAF}" srcOrd="1" destOrd="0" presId="urn:microsoft.com/office/officeart/2008/layout/VerticalCurvedList"/>
    <dgm:cxn modelId="{264F2D8F-8154-4BE2-9598-48CB0CA460E9}" type="presParOf" srcId="{DFF58809-CF26-42A6-A4B3-2D1B8EC242B1}" destId="{4C604848-88D4-4E83-AAEF-E26AB3469267}" srcOrd="2" destOrd="0" presId="urn:microsoft.com/office/officeart/2008/layout/VerticalCurvedList"/>
    <dgm:cxn modelId="{DAE6AD9B-3596-47B4-9E12-A1BA613B1CBC}" type="presParOf" srcId="{4C604848-88D4-4E83-AAEF-E26AB3469267}" destId="{48A2F3B9-E676-46B2-8503-2CBCCB844E7C}" srcOrd="0" destOrd="0" presId="urn:microsoft.com/office/officeart/2008/layout/VerticalCurvedList"/>
    <dgm:cxn modelId="{8957D4F0-7B49-42D6-9561-E69BE7F4A66F}" type="presParOf" srcId="{DFF58809-CF26-42A6-A4B3-2D1B8EC242B1}" destId="{4218170E-CE44-442F-87F7-B3990906ECE3}" srcOrd="3" destOrd="0" presId="urn:microsoft.com/office/officeart/2008/layout/VerticalCurvedList"/>
    <dgm:cxn modelId="{D7AD261E-6B4F-4E0E-B70A-A469B2EBB8CB}" type="presParOf" srcId="{DFF58809-CF26-42A6-A4B3-2D1B8EC242B1}" destId="{89E7E545-CFC2-4D6B-9865-158A903CCD16}" srcOrd="4" destOrd="0" presId="urn:microsoft.com/office/officeart/2008/layout/VerticalCurvedList"/>
    <dgm:cxn modelId="{199C9B78-285D-4518-8E4B-4B06E79AAC17}" type="presParOf" srcId="{89E7E545-CFC2-4D6B-9865-158A903CCD16}" destId="{FCA6BED0-7A3A-4C6E-84A5-7F3F608340FA}" srcOrd="0" destOrd="0" presId="urn:microsoft.com/office/officeart/2008/layout/VerticalCurvedList"/>
    <dgm:cxn modelId="{18FF8046-728D-4B34-947C-2D57CC92E9F6}" type="presParOf" srcId="{DFF58809-CF26-42A6-A4B3-2D1B8EC242B1}" destId="{9DB6A7BA-7005-4F64-B940-EEF9D32C1920}" srcOrd="5" destOrd="0" presId="urn:microsoft.com/office/officeart/2008/layout/VerticalCurvedList"/>
    <dgm:cxn modelId="{0CCD9402-0C07-40EC-8694-01B218BFD809}" type="presParOf" srcId="{DFF58809-CF26-42A6-A4B3-2D1B8EC242B1}" destId="{EA63016B-271B-4A0D-8C3C-84D14F73EDA2}" srcOrd="6" destOrd="0" presId="urn:microsoft.com/office/officeart/2008/layout/VerticalCurvedList"/>
    <dgm:cxn modelId="{0BB65EB4-C8E9-47E6-9145-D12145231502}" type="presParOf" srcId="{EA63016B-271B-4A0D-8C3C-84D14F73EDA2}" destId="{365C7217-9AFE-4CF5-BEA7-44017CD66F8E}" srcOrd="0" destOrd="0" presId="urn:microsoft.com/office/officeart/2008/layout/VerticalCurvedList"/>
    <dgm:cxn modelId="{D759DC35-C0CD-4284-9D9E-17496FC48096}" type="presParOf" srcId="{DFF58809-CF26-42A6-A4B3-2D1B8EC242B1}" destId="{E37F734D-4C9B-4653-A074-B06A20C5E62B}" srcOrd="7" destOrd="0" presId="urn:microsoft.com/office/officeart/2008/layout/VerticalCurvedList"/>
    <dgm:cxn modelId="{F7DD3F2C-2EEE-4958-9AF5-D327AD1E9CF0}" type="presParOf" srcId="{DFF58809-CF26-42A6-A4B3-2D1B8EC242B1}" destId="{E7368CE9-CB40-4273-B0C3-99347CC1C161}" srcOrd="8" destOrd="0" presId="urn:microsoft.com/office/officeart/2008/layout/VerticalCurvedList"/>
    <dgm:cxn modelId="{10FF221A-7C7B-4A4F-8281-A694B9702DD3}" type="presParOf" srcId="{E7368CE9-CB40-4273-B0C3-99347CC1C161}" destId="{EEEBD3BB-C623-451D-8ABF-41D51F1503E0}" srcOrd="0" destOrd="0" presId="urn:microsoft.com/office/officeart/2008/layout/VerticalCurvedList"/>
    <dgm:cxn modelId="{5BB28C25-8ED2-46B5-8B09-0C174CD88D06}" type="presParOf" srcId="{DFF58809-CF26-42A6-A4B3-2D1B8EC242B1}" destId="{D603FD33-D415-4B09-958B-7C8C0DE44A9E}" srcOrd="9" destOrd="0" presId="urn:microsoft.com/office/officeart/2008/layout/VerticalCurvedList"/>
    <dgm:cxn modelId="{3EF1A374-FEC3-4D21-B0D3-6B9BD048A5D3}" type="presParOf" srcId="{DFF58809-CF26-42A6-A4B3-2D1B8EC242B1}" destId="{D09EE297-AA25-43DE-9965-18FCEEA5C573}" srcOrd="10" destOrd="0" presId="urn:microsoft.com/office/officeart/2008/layout/VerticalCurvedList"/>
    <dgm:cxn modelId="{1A82A3BE-3C85-4867-8E46-2C1DF9C2E600}" type="presParOf" srcId="{D09EE297-AA25-43DE-9965-18FCEEA5C573}" destId="{C2C6F9E5-1B63-4E74-823A-BC41D5EA4914}" srcOrd="0" destOrd="0" presId="urn:microsoft.com/office/officeart/2008/layout/VerticalCurvedList"/>
    <dgm:cxn modelId="{C8736C61-EDB3-4820-876E-71088D8D086D}" type="presParOf" srcId="{DFF58809-CF26-42A6-A4B3-2D1B8EC242B1}" destId="{C9D98C67-D4F9-4184-9B4C-17EED330D7BE}" srcOrd="11" destOrd="0" presId="urn:microsoft.com/office/officeart/2008/layout/VerticalCurvedList"/>
    <dgm:cxn modelId="{BF4BB742-7C62-4F8E-962F-12FCB2E7A16D}" type="presParOf" srcId="{DFF58809-CF26-42A6-A4B3-2D1B8EC242B1}" destId="{FACF1CAB-6AAA-4AA4-BB71-E6FEC8B2A4BC}" srcOrd="12" destOrd="0" presId="urn:microsoft.com/office/officeart/2008/layout/VerticalCurvedList"/>
    <dgm:cxn modelId="{ED8B82CD-1FCF-4C34-90C8-14B633E02310}" type="presParOf" srcId="{FACF1CAB-6AAA-4AA4-BB71-E6FEC8B2A4BC}" destId="{BE006B2D-7F1D-416F-9AF2-462ADA8D051F}" srcOrd="0" destOrd="0" presId="urn:microsoft.com/office/officeart/2008/layout/VerticalCurvedList"/>
    <dgm:cxn modelId="{D6961967-50F3-4F30-BA8E-D3FC26905BEF}" type="presParOf" srcId="{DFF58809-CF26-42A6-A4B3-2D1B8EC242B1}" destId="{54A5CF6F-427D-48E6-B3FF-FD9906C1CC28}" srcOrd="13" destOrd="0" presId="urn:microsoft.com/office/officeart/2008/layout/VerticalCurvedList"/>
    <dgm:cxn modelId="{97CBEDED-7E57-4B7B-923B-8B5EBDB3DA97}" type="presParOf" srcId="{DFF58809-CF26-42A6-A4B3-2D1B8EC242B1}" destId="{914D7E8B-C622-4A36-AECD-8665BA6BDC8A}" srcOrd="14" destOrd="0" presId="urn:microsoft.com/office/officeart/2008/layout/VerticalCurvedList"/>
    <dgm:cxn modelId="{2CA70E51-06E0-4F65-B96D-DE065F8FA644}" type="presParOf" srcId="{914D7E8B-C622-4A36-AECD-8665BA6BDC8A}" destId="{53AE026A-C757-4438-9761-0F3958253011}"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E674E3E-4189-4753-B565-080AB5587480}" type="doc">
      <dgm:prSet loTypeId="urn:microsoft.com/office/officeart/2008/layout/VerticalCurvedList" loCatId="list" qsTypeId="urn:microsoft.com/office/officeart/2005/8/quickstyle/simple3" qsCatId="simple" csTypeId="urn:microsoft.com/office/officeart/2005/8/colors/accent1_2" csCatId="accent1" phldr="1"/>
      <dgm:spPr/>
      <dgm:t>
        <a:bodyPr/>
        <a:lstStyle/>
        <a:p>
          <a:endParaRPr lang="ru-UA"/>
        </a:p>
      </dgm:t>
    </dgm:pt>
    <dgm:pt modelId="{BB59A6E6-6B37-4CBC-A732-F7423FBEB992}">
      <dgm:prSet/>
      <dgm:spPr/>
      <dgm:t>
        <a:bodyPr/>
        <a:lstStyle/>
        <a:p>
          <a:pPr>
            <a:buFont typeface="Arial" panose="020B0604020202020204" pitchFamily="34" charset="0"/>
            <a:buChar char="•"/>
          </a:pPr>
          <a:r>
            <a:rPr lang="uk-UA" b="0" i="0" noProof="0" dirty="0"/>
            <a:t>під час діє воєнного стану щорічна основна оплачувана відпустка надається всім працівникам, у т. ч. педагогам, тривалістю 24 календарних дні. Тобто роботодавець має право обмежити тривалість відпустки на період воєнного стану, але не зобов’язаний. Невикористана частина відпустки має бути надана педагогу після закінчення воєнного стану</a:t>
          </a:r>
        </a:p>
      </dgm:t>
    </dgm:pt>
    <dgm:pt modelId="{C28C4391-092F-442F-99D7-3BB9800F12FA}" type="parTrans" cxnId="{FAFA6595-729C-40DB-8B6A-5891E0E3B894}">
      <dgm:prSet/>
      <dgm:spPr/>
      <dgm:t>
        <a:bodyPr/>
        <a:lstStyle/>
        <a:p>
          <a:endParaRPr lang="ru-UA"/>
        </a:p>
      </dgm:t>
    </dgm:pt>
    <dgm:pt modelId="{46B67C73-B1CE-4F32-8626-06E9C00FED5B}" type="sibTrans" cxnId="{FAFA6595-729C-40DB-8B6A-5891E0E3B894}">
      <dgm:prSet/>
      <dgm:spPr/>
      <dgm:t>
        <a:bodyPr/>
        <a:lstStyle/>
        <a:p>
          <a:endParaRPr lang="ru-UA"/>
        </a:p>
      </dgm:t>
    </dgm:pt>
    <dgm:pt modelId="{69C5F98E-A705-4481-85EB-9B7F11A55F7A}" type="pres">
      <dgm:prSet presAssocID="{AE674E3E-4189-4753-B565-080AB5587480}" presName="Name0" presStyleCnt="0">
        <dgm:presLayoutVars>
          <dgm:chMax val="7"/>
          <dgm:chPref val="7"/>
          <dgm:dir/>
        </dgm:presLayoutVars>
      </dgm:prSet>
      <dgm:spPr/>
      <dgm:t>
        <a:bodyPr/>
        <a:lstStyle/>
        <a:p>
          <a:endParaRPr lang="en-US"/>
        </a:p>
      </dgm:t>
    </dgm:pt>
    <dgm:pt modelId="{DFF58809-CF26-42A6-A4B3-2D1B8EC242B1}" type="pres">
      <dgm:prSet presAssocID="{AE674E3E-4189-4753-B565-080AB5587480}" presName="Name1" presStyleCnt="0"/>
      <dgm:spPr/>
    </dgm:pt>
    <dgm:pt modelId="{3095650F-4999-496A-B8BF-123889A6AE18}" type="pres">
      <dgm:prSet presAssocID="{AE674E3E-4189-4753-B565-080AB5587480}" presName="cycle" presStyleCnt="0"/>
      <dgm:spPr/>
    </dgm:pt>
    <dgm:pt modelId="{28DC13AD-0E90-4C04-BF7E-C4A603760856}" type="pres">
      <dgm:prSet presAssocID="{AE674E3E-4189-4753-B565-080AB5587480}" presName="srcNode" presStyleLbl="node1" presStyleIdx="0" presStyleCnt="1"/>
      <dgm:spPr/>
    </dgm:pt>
    <dgm:pt modelId="{26D5D76B-DF2D-4AC5-BC5C-4DC5F2CDA9BF}" type="pres">
      <dgm:prSet presAssocID="{AE674E3E-4189-4753-B565-080AB5587480}" presName="conn" presStyleLbl="parChTrans1D2" presStyleIdx="0" presStyleCnt="1"/>
      <dgm:spPr/>
      <dgm:t>
        <a:bodyPr/>
        <a:lstStyle/>
        <a:p>
          <a:endParaRPr lang="en-US"/>
        </a:p>
      </dgm:t>
    </dgm:pt>
    <dgm:pt modelId="{A4F99143-8ED2-4F09-8CDF-1231E318B1FB}" type="pres">
      <dgm:prSet presAssocID="{AE674E3E-4189-4753-B565-080AB5587480}" presName="extraNode" presStyleLbl="node1" presStyleIdx="0" presStyleCnt="1"/>
      <dgm:spPr/>
    </dgm:pt>
    <dgm:pt modelId="{1C407A02-7758-488C-B3E4-A854A85C96D0}" type="pres">
      <dgm:prSet presAssocID="{AE674E3E-4189-4753-B565-080AB5587480}" presName="dstNode" presStyleLbl="node1" presStyleIdx="0" presStyleCnt="1"/>
      <dgm:spPr/>
    </dgm:pt>
    <dgm:pt modelId="{3B0BB715-0552-4395-B878-25C19DD90BAF}" type="pres">
      <dgm:prSet presAssocID="{BB59A6E6-6B37-4CBC-A732-F7423FBEB992}" presName="text_1" presStyleLbl="node1" presStyleIdx="0" presStyleCnt="1">
        <dgm:presLayoutVars>
          <dgm:bulletEnabled val="1"/>
        </dgm:presLayoutVars>
      </dgm:prSet>
      <dgm:spPr/>
      <dgm:t>
        <a:bodyPr/>
        <a:lstStyle/>
        <a:p>
          <a:endParaRPr lang="en-US"/>
        </a:p>
      </dgm:t>
    </dgm:pt>
    <dgm:pt modelId="{4C604848-88D4-4E83-AAEF-E26AB3469267}" type="pres">
      <dgm:prSet presAssocID="{BB59A6E6-6B37-4CBC-A732-F7423FBEB992}" presName="accent_1" presStyleCnt="0"/>
      <dgm:spPr/>
    </dgm:pt>
    <dgm:pt modelId="{48A2F3B9-E676-46B2-8503-2CBCCB844E7C}" type="pres">
      <dgm:prSet presAssocID="{BB59A6E6-6B37-4CBC-A732-F7423FBEB992}" presName="accentRepeatNode" presStyleLbl="solidFgAcc1" presStyleIdx="0" presStyleCnt="1"/>
      <dgm:spPr/>
    </dgm:pt>
  </dgm:ptLst>
  <dgm:cxnLst>
    <dgm:cxn modelId="{1C4B32E8-D5D6-4461-BE1D-72AAE4DB02DC}" type="presOf" srcId="{BB59A6E6-6B37-4CBC-A732-F7423FBEB992}" destId="{3B0BB715-0552-4395-B878-25C19DD90BAF}" srcOrd="0" destOrd="0" presId="urn:microsoft.com/office/officeart/2008/layout/VerticalCurvedList"/>
    <dgm:cxn modelId="{C0922D00-47B3-4299-8509-24FAE3E0887E}" type="presOf" srcId="{46B67C73-B1CE-4F32-8626-06E9C00FED5B}" destId="{26D5D76B-DF2D-4AC5-BC5C-4DC5F2CDA9BF}" srcOrd="0" destOrd="0" presId="urn:microsoft.com/office/officeart/2008/layout/VerticalCurvedList"/>
    <dgm:cxn modelId="{FAFA6595-729C-40DB-8B6A-5891E0E3B894}" srcId="{AE674E3E-4189-4753-B565-080AB5587480}" destId="{BB59A6E6-6B37-4CBC-A732-F7423FBEB992}" srcOrd="0" destOrd="0" parTransId="{C28C4391-092F-442F-99D7-3BB9800F12FA}" sibTransId="{46B67C73-B1CE-4F32-8626-06E9C00FED5B}"/>
    <dgm:cxn modelId="{DAB71236-2DF4-4515-BC0F-88D82E310CDF}" type="presOf" srcId="{AE674E3E-4189-4753-B565-080AB5587480}" destId="{69C5F98E-A705-4481-85EB-9B7F11A55F7A}" srcOrd="0" destOrd="0" presId="urn:microsoft.com/office/officeart/2008/layout/VerticalCurvedList"/>
    <dgm:cxn modelId="{B61AC4AC-0F91-413A-80C6-9616C4DB1FE6}" type="presParOf" srcId="{69C5F98E-A705-4481-85EB-9B7F11A55F7A}" destId="{DFF58809-CF26-42A6-A4B3-2D1B8EC242B1}" srcOrd="0" destOrd="0" presId="urn:microsoft.com/office/officeart/2008/layout/VerticalCurvedList"/>
    <dgm:cxn modelId="{6F67AFC4-C536-4019-8733-14583061497A}" type="presParOf" srcId="{DFF58809-CF26-42A6-A4B3-2D1B8EC242B1}" destId="{3095650F-4999-496A-B8BF-123889A6AE18}" srcOrd="0" destOrd="0" presId="urn:microsoft.com/office/officeart/2008/layout/VerticalCurvedList"/>
    <dgm:cxn modelId="{655DD695-0F2D-4D82-98E0-E793886D15F0}" type="presParOf" srcId="{3095650F-4999-496A-B8BF-123889A6AE18}" destId="{28DC13AD-0E90-4C04-BF7E-C4A603760856}" srcOrd="0" destOrd="0" presId="urn:microsoft.com/office/officeart/2008/layout/VerticalCurvedList"/>
    <dgm:cxn modelId="{8E5FB416-D9FB-4CA6-8E5F-DCD135FB0661}" type="presParOf" srcId="{3095650F-4999-496A-B8BF-123889A6AE18}" destId="{26D5D76B-DF2D-4AC5-BC5C-4DC5F2CDA9BF}" srcOrd="1" destOrd="0" presId="urn:microsoft.com/office/officeart/2008/layout/VerticalCurvedList"/>
    <dgm:cxn modelId="{80E256C0-42F9-4DD0-9601-721E986A1444}" type="presParOf" srcId="{3095650F-4999-496A-B8BF-123889A6AE18}" destId="{A4F99143-8ED2-4F09-8CDF-1231E318B1FB}" srcOrd="2" destOrd="0" presId="urn:microsoft.com/office/officeart/2008/layout/VerticalCurvedList"/>
    <dgm:cxn modelId="{C4B20619-716A-4957-ABC6-46F0999EB5B4}" type="presParOf" srcId="{3095650F-4999-496A-B8BF-123889A6AE18}" destId="{1C407A02-7758-488C-B3E4-A854A85C96D0}" srcOrd="3" destOrd="0" presId="urn:microsoft.com/office/officeart/2008/layout/VerticalCurvedList"/>
    <dgm:cxn modelId="{8F333431-1E42-4DE1-99D2-07FC11A1A634}" type="presParOf" srcId="{DFF58809-CF26-42A6-A4B3-2D1B8EC242B1}" destId="{3B0BB715-0552-4395-B878-25C19DD90BAF}" srcOrd="1" destOrd="0" presId="urn:microsoft.com/office/officeart/2008/layout/VerticalCurvedList"/>
    <dgm:cxn modelId="{264F2D8F-8154-4BE2-9598-48CB0CA460E9}" type="presParOf" srcId="{DFF58809-CF26-42A6-A4B3-2D1B8EC242B1}" destId="{4C604848-88D4-4E83-AAEF-E26AB3469267}" srcOrd="2" destOrd="0" presId="urn:microsoft.com/office/officeart/2008/layout/VerticalCurvedList"/>
    <dgm:cxn modelId="{DAE6AD9B-3596-47B4-9E12-A1BA613B1CBC}" type="presParOf" srcId="{4C604848-88D4-4E83-AAEF-E26AB3469267}" destId="{48A2F3B9-E676-46B2-8503-2CBCCB844E7C}"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E674E3E-4189-4753-B565-080AB5587480}" type="doc">
      <dgm:prSet loTypeId="urn:microsoft.com/office/officeart/2008/layout/VerticalCurvedList" loCatId="list" qsTypeId="urn:microsoft.com/office/officeart/2005/8/quickstyle/simple3" qsCatId="simple" csTypeId="urn:microsoft.com/office/officeart/2005/8/colors/accent1_2" csCatId="accent1" phldr="1"/>
      <dgm:spPr/>
      <dgm:t>
        <a:bodyPr/>
        <a:lstStyle/>
        <a:p>
          <a:endParaRPr lang="ru-UA"/>
        </a:p>
      </dgm:t>
    </dgm:pt>
    <dgm:pt modelId="{BB59A6E6-6B37-4CBC-A732-F7423FBEB992}">
      <dgm:prSet/>
      <dgm:spPr/>
      <dgm:t>
        <a:bodyPr/>
        <a:lstStyle/>
        <a:p>
          <a:pPr>
            <a:buFont typeface="Arial" panose="020B0604020202020204" pitchFamily="34" charset="0"/>
            <a:buChar char="•"/>
          </a:pPr>
          <a:r>
            <a:rPr lang="uk-UA" b="1" i="0" noProof="0" dirty="0"/>
            <a:t>Відкликання зі щорічної відпустки</a:t>
          </a:r>
          <a:r>
            <a:rPr lang="uk-UA" b="0" i="0" noProof="0" dirty="0"/>
            <a:t> допускається за згодою педагогічного працівника лише для відвернення стихійного лиха, виробничої аварії або негайного усунення їх наслідків, для відвернення нещасних випадків, простою, загибелі або псування майна закладу та в інших випадках, передбачених законодавством (ч. 3 ст. 12 Закону про відпустки).</a:t>
          </a:r>
        </a:p>
      </dgm:t>
    </dgm:pt>
    <dgm:pt modelId="{C28C4391-092F-442F-99D7-3BB9800F12FA}" type="parTrans" cxnId="{FAFA6595-729C-40DB-8B6A-5891E0E3B894}">
      <dgm:prSet/>
      <dgm:spPr/>
      <dgm:t>
        <a:bodyPr/>
        <a:lstStyle/>
        <a:p>
          <a:endParaRPr lang="ru-UA"/>
        </a:p>
      </dgm:t>
    </dgm:pt>
    <dgm:pt modelId="{46B67C73-B1CE-4F32-8626-06E9C00FED5B}" type="sibTrans" cxnId="{FAFA6595-729C-40DB-8B6A-5891E0E3B894}">
      <dgm:prSet/>
      <dgm:spPr/>
      <dgm:t>
        <a:bodyPr/>
        <a:lstStyle/>
        <a:p>
          <a:endParaRPr lang="ru-UA"/>
        </a:p>
      </dgm:t>
    </dgm:pt>
    <dgm:pt modelId="{69C5F98E-A705-4481-85EB-9B7F11A55F7A}" type="pres">
      <dgm:prSet presAssocID="{AE674E3E-4189-4753-B565-080AB5587480}" presName="Name0" presStyleCnt="0">
        <dgm:presLayoutVars>
          <dgm:chMax val="7"/>
          <dgm:chPref val="7"/>
          <dgm:dir/>
        </dgm:presLayoutVars>
      </dgm:prSet>
      <dgm:spPr/>
      <dgm:t>
        <a:bodyPr/>
        <a:lstStyle/>
        <a:p>
          <a:endParaRPr lang="en-US"/>
        </a:p>
      </dgm:t>
    </dgm:pt>
    <dgm:pt modelId="{DFF58809-CF26-42A6-A4B3-2D1B8EC242B1}" type="pres">
      <dgm:prSet presAssocID="{AE674E3E-4189-4753-B565-080AB5587480}" presName="Name1" presStyleCnt="0"/>
      <dgm:spPr/>
    </dgm:pt>
    <dgm:pt modelId="{3095650F-4999-496A-B8BF-123889A6AE18}" type="pres">
      <dgm:prSet presAssocID="{AE674E3E-4189-4753-B565-080AB5587480}" presName="cycle" presStyleCnt="0"/>
      <dgm:spPr/>
    </dgm:pt>
    <dgm:pt modelId="{28DC13AD-0E90-4C04-BF7E-C4A603760856}" type="pres">
      <dgm:prSet presAssocID="{AE674E3E-4189-4753-B565-080AB5587480}" presName="srcNode" presStyleLbl="node1" presStyleIdx="0" presStyleCnt="1"/>
      <dgm:spPr/>
    </dgm:pt>
    <dgm:pt modelId="{26D5D76B-DF2D-4AC5-BC5C-4DC5F2CDA9BF}" type="pres">
      <dgm:prSet presAssocID="{AE674E3E-4189-4753-B565-080AB5587480}" presName="conn" presStyleLbl="parChTrans1D2" presStyleIdx="0" presStyleCnt="1"/>
      <dgm:spPr/>
      <dgm:t>
        <a:bodyPr/>
        <a:lstStyle/>
        <a:p>
          <a:endParaRPr lang="en-US"/>
        </a:p>
      </dgm:t>
    </dgm:pt>
    <dgm:pt modelId="{A4F99143-8ED2-4F09-8CDF-1231E318B1FB}" type="pres">
      <dgm:prSet presAssocID="{AE674E3E-4189-4753-B565-080AB5587480}" presName="extraNode" presStyleLbl="node1" presStyleIdx="0" presStyleCnt="1"/>
      <dgm:spPr/>
    </dgm:pt>
    <dgm:pt modelId="{1C407A02-7758-488C-B3E4-A854A85C96D0}" type="pres">
      <dgm:prSet presAssocID="{AE674E3E-4189-4753-B565-080AB5587480}" presName="dstNode" presStyleLbl="node1" presStyleIdx="0" presStyleCnt="1"/>
      <dgm:spPr/>
    </dgm:pt>
    <dgm:pt modelId="{3B0BB715-0552-4395-B878-25C19DD90BAF}" type="pres">
      <dgm:prSet presAssocID="{BB59A6E6-6B37-4CBC-A732-F7423FBEB992}" presName="text_1" presStyleLbl="node1" presStyleIdx="0" presStyleCnt="1">
        <dgm:presLayoutVars>
          <dgm:bulletEnabled val="1"/>
        </dgm:presLayoutVars>
      </dgm:prSet>
      <dgm:spPr/>
      <dgm:t>
        <a:bodyPr/>
        <a:lstStyle/>
        <a:p>
          <a:endParaRPr lang="en-US"/>
        </a:p>
      </dgm:t>
    </dgm:pt>
    <dgm:pt modelId="{4C604848-88D4-4E83-AAEF-E26AB3469267}" type="pres">
      <dgm:prSet presAssocID="{BB59A6E6-6B37-4CBC-A732-F7423FBEB992}" presName="accent_1" presStyleCnt="0"/>
      <dgm:spPr/>
    </dgm:pt>
    <dgm:pt modelId="{48A2F3B9-E676-46B2-8503-2CBCCB844E7C}" type="pres">
      <dgm:prSet presAssocID="{BB59A6E6-6B37-4CBC-A732-F7423FBEB992}" presName="accentRepeatNode" presStyleLbl="solidFgAcc1" presStyleIdx="0" presStyleCnt="1"/>
      <dgm:spPr/>
    </dgm:pt>
  </dgm:ptLst>
  <dgm:cxnLst>
    <dgm:cxn modelId="{1C4B32E8-D5D6-4461-BE1D-72AAE4DB02DC}" type="presOf" srcId="{BB59A6E6-6B37-4CBC-A732-F7423FBEB992}" destId="{3B0BB715-0552-4395-B878-25C19DD90BAF}" srcOrd="0" destOrd="0" presId="urn:microsoft.com/office/officeart/2008/layout/VerticalCurvedList"/>
    <dgm:cxn modelId="{C0922D00-47B3-4299-8509-24FAE3E0887E}" type="presOf" srcId="{46B67C73-B1CE-4F32-8626-06E9C00FED5B}" destId="{26D5D76B-DF2D-4AC5-BC5C-4DC5F2CDA9BF}" srcOrd="0" destOrd="0" presId="urn:microsoft.com/office/officeart/2008/layout/VerticalCurvedList"/>
    <dgm:cxn modelId="{FAFA6595-729C-40DB-8B6A-5891E0E3B894}" srcId="{AE674E3E-4189-4753-B565-080AB5587480}" destId="{BB59A6E6-6B37-4CBC-A732-F7423FBEB992}" srcOrd="0" destOrd="0" parTransId="{C28C4391-092F-442F-99D7-3BB9800F12FA}" sibTransId="{46B67C73-B1CE-4F32-8626-06E9C00FED5B}"/>
    <dgm:cxn modelId="{DAB71236-2DF4-4515-BC0F-88D82E310CDF}" type="presOf" srcId="{AE674E3E-4189-4753-B565-080AB5587480}" destId="{69C5F98E-A705-4481-85EB-9B7F11A55F7A}" srcOrd="0" destOrd="0" presId="urn:microsoft.com/office/officeart/2008/layout/VerticalCurvedList"/>
    <dgm:cxn modelId="{B61AC4AC-0F91-413A-80C6-9616C4DB1FE6}" type="presParOf" srcId="{69C5F98E-A705-4481-85EB-9B7F11A55F7A}" destId="{DFF58809-CF26-42A6-A4B3-2D1B8EC242B1}" srcOrd="0" destOrd="0" presId="urn:microsoft.com/office/officeart/2008/layout/VerticalCurvedList"/>
    <dgm:cxn modelId="{6F67AFC4-C536-4019-8733-14583061497A}" type="presParOf" srcId="{DFF58809-CF26-42A6-A4B3-2D1B8EC242B1}" destId="{3095650F-4999-496A-B8BF-123889A6AE18}" srcOrd="0" destOrd="0" presId="urn:microsoft.com/office/officeart/2008/layout/VerticalCurvedList"/>
    <dgm:cxn modelId="{655DD695-0F2D-4D82-98E0-E793886D15F0}" type="presParOf" srcId="{3095650F-4999-496A-B8BF-123889A6AE18}" destId="{28DC13AD-0E90-4C04-BF7E-C4A603760856}" srcOrd="0" destOrd="0" presId="urn:microsoft.com/office/officeart/2008/layout/VerticalCurvedList"/>
    <dgm:cxn modelId="{8E5FB416-D9FB-4CA6-8E5F-DCD135FB0661}" type="presParOf" srcId="{3095650F-4999-496A-B8BF-123889A6AE18}" destId="{26D5D76B-DF2D-4AC5-BC5C-4DC5F2CDA9BF}" srcOrd="1" destOrd="0" presId="urn:microsoft.com/office/officeart/2008/layout/VerticalCurvedList"/>
    <dgm:cxn modelId="{80E256C0-42F9-4DD0-9601-721E986A1444}" type="presParOf" srcId="{3095650F-4999-496A-B8BF-123889A6AE18}" destId="{A4F99143-8ED2-4F09-8CDF-1231E318B1FB}" srcOrd="2" destOrd="0" presId="urn:microsoft.com/office/officeart/2008/layout/VerticalCurvedList"/>
    <dgm:cxn modelId="{C4B20619-716A-4957-ABC6-46F0999EB5B4}" type="presParOf" srcId="{3095650F-4999-496A-B8BF-123889A6AE18}" destId="{1C407A02-7758-488C-B3E4-A854A85C96D0}" srcOrd="3" destOrd="0" presId="urn:microsoft.com/office/officeart/2008/layout/VerticalCurvedList"/>
    <dgm:cxn modelId="{8F333431-1E42-4DE1-99D2-07FC11A1A634}" type="presParOf" srcId="{DFF58809-CF26-42A6-A4B3-2D1B8EC242B1}" destId="{3B0BB715-0552-4395-B878-25C19DD90BAF}" srcOrd="1" destOrd="0" presId="urn:microsoft.com/office/officeart/2008/layout/VerticalCurvedList"/>
    <dgm:cxn modelId="{264F2D8F-8154-4BE2-9598-48CB0CA460E9}" type="presParOf" srcId="{DFF58809-CF26-42A6-A4B3-2D1B8EC242B1}" destId="{4C604848-88D4-4E83-AAEF-E26AB3469267}" srcOrd="2" destOrd="0" presId="urn:microsoft.com/office/officeart/2008/layout/VerticalCurvedList"/>
    <dgm:cxn modelId="{DAE6AD9B-3596-47B4-9E12-A1BA613B1CBC}" type="presParOf" srcId="{4C604848-88D4-4E83-AAEF-E26AB3469267}" destId="{48A2F3B9-E676-46B2-8503-2CBCCB844E7C}"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E674E3E-4189-4753-B565-080AB5587480}" type="doc">
      <dgm:prSet loTypeId="urn:microsoft.com/office/officeart/2008/layout/VerticalCurvedList" loCatId="list" qsTypeId="urn:microsoft.com/office/officeart/2005/8/quickstyle/simple3" qsCatId="simple" csTypeId="urn:microsoft.com/office/officeart/2005/8/colors/accent1_2" csCatId="accent1" phldr="1"/>
      <dgm:spPr/>
      <dgm:t>
        <a:bodyPr/>
        <a:lstStyle/>
        <a:p>
          <a:endParaRPr lang="ru-UA"/>
        </a:p>
      </dgm:t>
    </dgm:pt>
    <dgm:pt modelId="{7F25FD84-22FE-4EA1-9249-C7FFE8D259F6}">
      <dgm:prSet/>
      <dgm:spPr/>
      <dgm:t>
        <a:bodyPr/>
        <a:lstStyle/>
        <a:p>
          <a:r>
            <a:rPr lang="uk-UA" dirty="0"/>
            <a:t>Щодо збереження мережі закладів дошкільної освіти та захисту прав їх працівників</a:t>
          </a:r>
          <a:endParaRPr lang="ru-UA" dirty="0"/>
        </a:p>
      </dgm:t>
    </dgm:pt>
    <dgm:pt modelId="{E9AE07CB-80A0-43DA-810B-F5BF002B0CB6}" type="parTrans" cxnId="{BAE15A2A-461A-4DF8-B174-F4FCE5F08D6A}">
      <dgm:prSet/>
      <dgm:spPr/>
      <dgm:t>
        <a:bodyPr/>
        <a:lstStyle/>
        <a:p>
          <a:endParaRPr lang="ru-UA"/>
        </a:p>
      </dgm:t>
    </dgm:pt>
    <dgm:pt modelId="{516493BF-58B3-49BE-AB6E-57341484DC1C}" type="sibTrans" cxnId="{BAE15A2A-461A-4DF8-B174-F4FCE5F08D6A}">
      <dgm:prSet/>
      <dgm:spPr/>
      <dgm:t>
        <a:bodyPr/>
        <a:lstStyle/>
        <a:p>
          <a:endParaRPr lang="ru-UA"/>
        </a:p>
      </dgm:t>
    </dgm:pt>
    <dgm:pt modelId="{27622475-7C33-4F3B-9B9A-739E83C1D195}">
      <dgm:prSet/>
      <dgm:spPr/>
      <dgm:t>
        <a:bodyPr/>
        <a:lstStyle/>
        <a:p>
          <a:r>
            <a:rPr lang="uk-UA" dirty="0"/>
            <a:t>провести комплектацію ЗДО із </a:t>
          </a:r>
          <a:r>
            <a:rPr lang="uk-UA" dirty="0" err="1"/>
            <a:t>враховуванням</a:t>
          </a:r>
          <a:r>
            <a:rPr lang="uk-UA" dirty="0"/>
            <a:t> демографічної ситуації в регіоні, освітніх потреб та запитів населення (збереження кількості груп та штатних розписів);</a:t>
          </a:r>
          <a:endParaRPr lang="ru-UA" dirty="0"/>
        </a:p>
      </dgm:t>
    </dgm:pt>
    <dgm:pt modelId="{1A271DFF-1CCA-4D79-9D7B-0C2836632484}" type="parTrans" cxnId="{8EB60EDF-12EA-4237-9C28-1B9D9233E8E5}">
      <dgm:prSet/>
      <dgm:spPr/>
      <dgm:t>
        <a:bodyPr/>
        <a:lstStyle/>
        <a:p>
          <a:endParaRPr lang="ru-UA"/>
        </a:p>
      </dgm:t>
    </dgm:pt>
    <dgm:pt modelId="{498FCF77-7685-4415-A0EE-C245CE2CE039}" type="sibTrans" cxnId="{8EB60EDF-12EA-4237-9C28-1B9D9233E8E5}">
      <dgm:prSet/>
      <dgm:spPr/>
      <dgm:t>
        <a:bodyPr/>
        <a:lstStyle/>
        <a:p>
          <a:endParaRPr lang="ru-UA"/>
        </a:p>
      </dgm:t>
    </dgm:pt>
    <dgm:pt modelId="{6BC0C354-5D6C-4C31-A340-75D07DEDEE46}">
      <dgm:prSet/>
      <dgm:spPr/>
      <dgm:t>
        <a:bodyPr/>
        <a:lstStyle/>
        <a:p>
          <a:r>
            <a:rPr lang="uk-UA" dirty="0"/>
            <a:t>зберегти мережу спеціальних груп; </a:t>
          </a:r>
          <a:endParaRPr lang="ru-UA" dirty="0"/>
        </a:p>
      </dgm:t>
    </dgm:pt>
    <dgm:pt modelId="{B89456A8-E03B-4E02-B1EA-945841284EF3}" type="parTrans" cxnId="{ECA48BE9-2D70-4501-ACFA-01BAD59C73BF}">
      <dgm:prSet/>
      <dgm:spPr/>
      <dgm:t>
        <a:bodyPr/>
        <a:lstStyle/>
        <a:p>
          <a:endParaRPr lang="ru-UA"/>
        </a:p>
      </dgm:t>
    </dgm:pt>
    <dgm:pt modelId="{4B193232-E599-4757-BCAD-31CEC85613CC}" type="sibTrans" cxnId="{ECA48BE9-2D70-4501-ACFA-01BAD59C73BF}">
      <dgm:prSet/>
      <dgm:spPr/>
      <dgm:t>
        <a:bodyPr/>
        <a:lstStyle/>
        <a:p>
          <a:endParaRPr lang="ru-UA"/>
        </a:p>
      </dgm:t>
    </dgm:pt>
    <dgm:pt modelId="{2432CA43-BDEA-4581-9BD4-E0649DAAE0C2}">
      <dgm:prSet/>
      <dgm:spPr/>
      <dgm:t>
        <a:bodyPr/>
        <a:lstStyle/>
        <a:p>
          <a:r>
            <a:rPr lang="uk-UA" dirty="0"/>
            <a:t>сприяти розвитку мережі ЗДО приватної форми власності;</a:t>
          </a:r>
          <a:endParaRPr lang="ru-UA" dirty="0"/>
        </a:p>
      </dgm:t>
    </dgm:pt>
    <dgm:pt modelId="{CDA31AB6-C125-467D-933C-B5CCA7F90A13}" type="parTrans" cxnId="{17CBBE6B-9D4F-46BA-A202-5E0A61FBD361}">
      <dgm:prSet/>
      <dgm:spPr/>
      <dgm:t>
        <a:bodyPr/>
        <a:lstStyle/>
        <a:p>
          <a:endParaRPr lang="ru-UA"/>
        </a:p>
      </dgm:t>
    </dgm:pt>
    <dgm:pt modelId="{FC22D941-DF5D-4097-8C89-E06FCAAB4947}" type="sibTrans" cxnId="{17CBBE6B-9D4F-46BA-A202-5E0A61FBD361}">
      <dgm:prSet/>
      <dgm:spPr/>
      <dgm:t>
        <a:bodyPr/>
        <a:lstStyle/>
        <a:p>
          <a:endParaRPr lang="ru-UA"/>
        </a:p>
      </dgm:t>
    </dgm:pt>
    <dgm:pt modelId="{BF972397-AF18-4B4A-9532-319018DB90A6}">
      <dgm:prSet/>
      <dgm:spPr/>
      <dgm:t>
        <a:bodyPr/>
        <a:lstStyle/>
        <a:p>
          <a:r>
            <a:rPr lang="uk-UA" dirty="0"/>
            <a:t>розглянути питання щодо можливості відкриття ЗДО (груп) на базі закладів загальної середньої освіти, вищої освіти тощо; </a:t>
          </a:r>
          <a:endParaRPr lang="ru-UA" dirty="0"/>
        </a:p>
      </dgm:t>
    </dgm:pt>
    <dgm:pt modelId="{A812D2F2-B26A-4610-8B9B-71CFC004E869}" type="parTrans" cxnId="{787B9EC6-047F-4683-A21C-4043FF70A3FA}">
      <dgm:prSet/>
      <dgm:spPr/>
      <dgm:t>
        <a:bodyPr/>
        <a:lstStyle/>
        <a:p>
          <a:endParaRPr lang="ru-UA"/>
        </a:p>
      </dgm:t>
    </dgm:pt>
    <dgm:pt modelId="{24F26FD9-B67E-416B-B92D-17EEEBD63634}" type="sibTrans" cxnId="{787B9EC6-047F-4683-A21C-4043FF70A3FA}">
      <dgm:prSet/>
      <dgm:spPr/>
      <dgm:t>
        <a:bodyPr/>
        <a:lstStyle/>
        <a:p>
          <a:endParaRPr lang="ru-UA"/>
        </a:p>
      </dgm:t>
    </dgm:pt>
    <dgm:pt modelId="{CEABAEF5-9885-4EB5-858D-F5E0FF4FDD78}">
      <dgm:prSet/>
      <dgm:spPr/>
      <dgm:t>
        <a:bodyPr/>
        <a:lstStyle/>
        <a:p>
          <a:r>
            <a:rPr lang="uk-UA" dirty="0"/>
            <a:t>відкривати групи з короткотривалим перебуванням дітей, групи «разом з мамами», групи вихідного дня та вечірні, зокрема і для дітей із числа внутрішньо переміщених осіб; </a:t>
          </a:r>
          <a:endParaRPr lang="ru-UA" dirty="0"/>
        </a:p>
      </dgm:t>
    </dgm:pt>
    <dgm:pt modelId="{3A766BAF-A7DE-4E67-90F5-E4FD97D9FB21}" type="parTrans" cxnId="{956D2B03-0F9F-4942-931B-16E5CCAE0BE2}">
      <dgm:prSet/>
      <dgm:spPr/>
      <dgm:t>
        <a:bodyPr/>
        <a:lstStyle/>
        <a:p>
          <a:endParaRPr lang="ru-UA"/>
        </a:p>
      </dgm:t>
    </dgm:pt>
    <dgm:pt modelId="{A72BD9AA-699A-4CA6-8D62-92FCA0A49E68}" type="sibTrans" cxnId="{956D2B03-0F9F-4942-931B-16E5CCAE0BE2}">
      <dgm:prSet/>
      <dgm:spPr/>
      <dgm:t>
        <a:bodyPr/>
        <a:lstStyle/>
        <a:p>
          <a:endParaRPr lang="ru-UA"/>
        </a:p>
      </dgm:t>
    </dgm:pt>
    <dgm:pt modelId="{4E250EC5-0D9E-4868-A319-2D2DDA28B36F}">
      <dgm:prSet/>
      <dgm:spPr/>
      <dgm:t>
        <a:bodyPr/>
        <a:lstStyle/>
        <a:p>
          <a:r>
            <a:rPr lang="uk-UA" dirty="0"/>
            <a:t>організації </a:t>
          </a:r>
          <a:r>
            <a:rPr lang="uk-UA" dirty="0" err="1"/>
            <a:t>соціальнопедагогічного</a:t>
          </a:r>
          <a:r>
            <a:rPr lang="uk-UA" dirty="0"/>
            <a:t> патронату</a:t>
          </a:r>
          <a:endParaRPr lang="ru-UA" dirty="0"/>
        </a:p>
      </dgm:t>
    </dgm:pt>
    <dgm:pt modelId="{EB5DB1EB-0378-406E-8E53-6369EC708CC6}" type="parTrans" cxnId="{6E0A4AF2-F8E1-49CA-BC4A-B30BAD3781B2}">
      <dgm:prSet/>
      <dgm:spPr/>
    </dgm:pt>
    <dgm:pt modelId="{CE8D21AA-F251-4B0A-ABCD-372DE6AD0D29}" type="sibTrans" cxnId="{6E0A4AF2-F8E1-49CA-BC4A-B30BAD3781B2}">
      <dgm:prSet/>
      <dgm:spPr/>
    </dgm:pt>
    <dgm:pt modelId="{69C5F98E-A705-4481-85EB-9B7F11A55F7A}" type="pres">
      <dgm:prSet presAssocID="{AE674E3E-4189-4753-B565-080AB5587480}" presName="Name0" presStyleCnt="0">
        <dgm:presLayoutVars>
          <dgm:chMax val="7"/>
          <dgm:chPref val="7"/>
          <dgm:dir/>
        </dgm:presLayoutVars>
      </dgm:prSet>
      <dgm:spPr/>
      <dgm:t>
        <a:bodyPr/>
        <a:lstStyle/>
        <a:p>
          <a:endParaRPr lang="en-US"/>
        </a:p>
      </dgm:t>
    </dgm:pt>
    <dgm:pt modelId="{DFF58809-CF26-42A6-A4B3-2D1B8EC242B1}" type="pres">
      <dgm:prSet presAssocID="{AE674E3E-4189-4753-B565-080AB5587480}" presName="Name1" presStyleCnt="0"/>
      <dgm:spPr/>
    </dgm:pt>
    <dgm:pt modelId="{3095650F-4999-496A-B8BF-123889A6AE18}" type="pres">
      <dgm:prSet presAssocID="{AE674E3E-4189-4753-B565-080AB5587480}" presName="cycle" presStyleCnt="0"/>
      <dgm:spPr/>
    </dgm:pt>
    <dgm:pt modelId="{28DC13AD-0E90-4C04-BF7E-C4A603760856}" type="pres">
      <dgm:prSet presAssocID="{AE674E3E-4189-4753-B565-080AB5587480}" presName="srcNode" presStyleLbl="node1" presStyleIdx="0" presStyleCnt="7"/>
      <dgm:spPr/>
    </dgm:pt>
    <dgm:pt modelId="{26D5D76B-DF2D-4AC5-BC5C-4DC5F2CDA9BF}" type="pres">
      <dgm:prSet presAssocID="{AE674E3E-4189-4753-B565-080AB5587480}" presName="conn" presStyleLbl="parChTrans1D2" presStyleIdx="0" presStyleCnt="1"/>
      <dgm:spPr/>
      <dgm:t>
        <a:bodyPr/>
        <a:lstStyle/>
        <a:p>
          <a:endParaRPr lang="en-US"/>
        </a:p>
      </dgm:t>
    </dgm:pt>
    <dgm:pt modelId="{A4F99143-8ED2-4F09-8CDF-1231E318B1FB}" type="pres">
      <dgm:prSet presAssocID="{AE674E3E-4189-4753-B565-080AB5587480}" presName="extraNode" presStyleLbl="node1" presStyleIdx="0" presStyleCnt="7"/>
      <dgm:spPr/>
    </dgm:pt>
    <dgm:pt modelId="{1C407A02-7758-488C-B3E4-A854A85C96D0}" type="pres">
      <dgm:prSet presAssocID="{AE674E3E-4189-4753-B565-080AB5587480}" presName="dstNode" presStyleLbl="node1" presStyleIdx="0" presStyleCnt="7"/>
      <dgm:spPr/>
    </dgm:pt>
    <dgm:pt modelId="{2CE960BA-25FA-494A-B364-B6F17006F0BC}" type="pres">
      <dgm:prSet presAssocID="{7F25FD84-22FE-4EA1-9249-C7FFE8D259F6}" presName="text_1" presStyleLbl="node1" presStyleIdx="0" presStyleCnt="7">
        <dgm:presLayoutVars>
          <dgm:bulletEnabled val="1"/>
        </dgm:presLayoutVars>
      </dgm:prSet>
      <dgm:spPr/>
      <dgm:t>
        <a:bodyPr/>
        <a:lstStyle/>
        <a:p>
          <a:endParaRPr lang="en-US"/>
        </a:p>
      </dgm:t>
    </dgm:pt>
    <dgm:pt modelId="{9762B593-4A6B-4234-937A-12A42D855A75}" type="pres">
      <dgm:prSet presAssocID="{7F25FD84-22FE-4EA1-9249-C7FFE8D259F6}" presName="accent_1" presStyleCnt="0"/>
      <dgm:spPr/>
    </dgm:pt>
    <dgm:pt modelId="{D0FF1707-03FC-4C0B-A8F2-6E4FB3851E37}" type="pres">
      <dgm:prSet presAssocID="{7F25FD84-22FE-4EA1-9249-C7FFE8D259F6}" presName="accentRepeatNode" presStyleLbl="solidFgAcc1" presStyleIdx="0" presStyleCnt="7"/>
      <dgm:spPr/>
    </dgm:pt>
    <dgm:pt modelId="{35AEFF2D-B71B-426C-AE40-63D98045B13B}" type="pres">
      <dgm:prSet presAssocID="{27622475-7C33-4F3B-9B9A-739E83C1D195}" presName="text_2" presStyleLbl="node1" presStyleIdx="1" presStyleCnt="7">
        <dgm:presLayoutVars>
          <dgm:bulletEnabled val="1"/>
        </dgm:presLayoutVars>
      </dgm:prSet>
      <dgm:spPr/>
      <dgm:t>
        <a:bodyPr/>
        <a:lstStyle/>
        <a:p>
          <a:endParaRPr lang="en-US"/>
        </a:p>
      </dgm:t>
    </dgm:pt>
    <dgm:pt modelId="{A2E7DAB8-EE81-436F-8CEC-EF4BE0A76925}" type="pres">
      <dgm:prSet presAssocID="{27622475-7C33-4F3B-9B9A-739E83C1D195}" presName="accent_2" presStyleCnt="0"/>
      <dgm:spPr/>
    </dgm:pt>
    <dgm:pt modelId="{CA65F3A6-4922-44CB-9889-6F0E38EB3737}" type="pres">
      <dgm:prSet presAssocID="{27622475-7C33-4F3B-9B9A-739E83C1D195}" presName="accentRepeatNode" presStyleLbl="solidFgAcc1" presStyleIdx="1" presStyleCnt="7"/>
      <dgm:spPr/>
    </dgm:pt>
    <dgm:pt modelId="{33A937CA-648C-435C-B92B-E52B8763FCE1}" type="pres">
      <dgm:prSet presAssocID="{6BC0C354-5D6C-4C31-A340-75D07DEDEE46}" presName="text_3" presStyleLbl="node1" presStyleIdx="2" presStyleCnt="7">
        <dgm:presLayoutVars>
          <dgm:bulletEnabled val="1"/>
        </dgm:presLayoutVars>
      </dgm:prSet>
      <dgm:spPr/>
      <dgm:t>
        <a:bodyPr/>
        <a:lstStyle/>
        <a:p>
          <a:endParaRPr lang="en-US"/>
        </a:p>
      </dgm:t>
    </dgm:pt>
    <dgm:pt modelId="{8736989A-0185-43A8-B7BA-EA1BFE62F4FF}" type="pres">
      <dgm:prSet presAssocID="{6BC0C354-5D6C-4C31-A340-75D07DEDEE46}" presName="accent_3" presStyleCnt="0"/>
      <dgm:spPr/>
    </dgm:pt>
    <dgm:pt modelId="{FDDBDC15-CCA1-450C-A858-89B1F3411143}" type="pres">
      <dgm:prSet presAssocID="{6BC0C354-5D6C-4C31-A340-75D07DEDEE46}" presName="accentRepeatNode" presStyleLbl="solidFgAcc1" presStyleIdx="2" presStyleCnt="7"/>
      <dgm:spPr/>
    </dgm:pt>
    <dgm:pt modelId="{5694DA7C-D54A-450B-842C-CC82633188F0}" type="pres">
      <dgm:prSet presAssocID="{2432CA43-BDEA-4581-9BD4-E0649DAAE0C2}" presName="text_4" presStyleLbl="node1" presStyleIdx="3" presStyleCnt="7">
        <dgm:presLayoutVars>
          <dgm:bulletEnabled val="1"/>
        </dgm:presLayoutVars>
      </dgm:prSet>
      <dgm:spPr/>
      <dgm:t>
        <a:bodyPr/>
        <a:lstStyle/>
        <a:p>
          <a:endParaRPr lang="en-US"/>
        </a:p>
      </dgm:t>
    </dgm:pt>
    <dgm:pt modelId="{A8CD930E-338C-485B-976C-402736197240}" type="pres">
      <dgm:prSet presAssocID="{2432CA43-BDEA-4581-9BD4-E0649DAAE0C2}" presName="accent_4" presStyleCnt="0"/>
      <dgm:spPr/>
    </dgm:pt>
    <dgm:pt modelId="{48764E5B-FCD9-47BD-9747-7FA4761DAC00}" type="pres">
      <dgm:prSet presAssocID="{2432CA43-BDEA-4581-9BD4-E0649DAAE0C2}" presName="accentRepeatNode" presStyleLbl="solidFgAcc1" presStyleIdx="3" presStyleCnt="7"/>
      <dgm:spPr/>
    </dgm:pt>
    <dgm:pt modelId="{52704F03-1512-40A0-9886-9A4150A0CB9C}" type="pres">
      <dgm:prSet presAssocID="{BF972397-AF18-4B4A-9532-319018DB90A6}" presName="text_5" presStyleLbl="node1" presStyleIdx="4" presStyleCnt="7">
        <dgm:presLayoutVars>
          <dgm:bulletEnabled val="1"/>
        </dgm:presLayoutVars>
      </dgm:prSet>
      <dgm:spPr/>
      <dgm:t>
        <a:bodyPr/>
        <a:lstStyle/>
        <a:p>
          <a:endParaRPr lang="en-US"/>
        </a:p>
      </dgm:t>
    </dgm:pt>
    <dgm:pt modelId="{AF2BCEAF-A8FB-44F1-AD30-B271E74077C8}" type="pres">
      <dgm:prSet presAssocID="{BF972397-AF18-4B4A-9532-319018DB90A6}" presName="accent_5" presStyleCnt="0"/>
      <dgm:spPr/>
    </dgm:pt>
    <dgm:pt modelId="{5EF37550-80C2-450E-A209-C8060B77643B}" type="pres">
      <dgm:prSet presAssocID="{BF972397-AF18-4B4A-9532-319018DB90A6}" presName="accentRepeatNode" presStyleLbl="solidFgAcc1" presStyleIdx="4" presStyleCnt="7"/>
      <dgm:spPr/>
    </dgm:pt>
    <dgm:pt modelId="{06F8FFE5-7755-424E-9855-829510F06D18}" type="pres">
      <dgm:prSet presAssocID="{CEABAEF5-9885-4EB5-858D-F5E0FF4FDD78}" presName="text_6" presStyleLbl="node1" presStyleIdx="5" presStyleCnt="7">
        <dgm:presLayoutVars>
          <dgm:bulletEnabled val="1"/>
        </dgm:presLayoutVars>
      </dgm:prSet>
      <dgm:spPr/>
      <dgm:t>
        <a:bodyPr/>
        <a:lstStyle/>
        <a:p>
          <a:endParaRPr lang="en-US"/>
        </a:p>
      </dgm:t>
    </dgm:pt>
    <dgm:pt modelId="{CD119CA4-2431-4709-97C1-5594276FC9B8}" type="pres">
      <dgm:prSet presAssocID="{CEABAEF5-9885-4EB5-858D-F5E0FF4FDD78}" presName="accent_6" presStyleCnt="0"/>
      <dgm:spPr/>
    </dgm:pt>
    <dgm:pt modelId="{80AE99E9-E1CE-4600-A10C-9B51507BC5BC}" type="pres">
      <dgm:prSet presAssocID="{CEABAEF5-9885-4EB5-858D-F5E0FF4FDD78}" presName="accentRepeatNode" presStyleLbl="solidFgAcc1" presStyleIdx="5" presStyleCnt="7"/>
      <dgm:spPr/>
    </dgm:pt>
    <dgm:pt modelId="{641C7562-ED05-48F7-9E9F-97640C276035}" type="pres">
      <dgm:prSet presAssocID="{4E250EC5-0D9E-4868-A319-2D2DDA28B36F}" presName="text_7" presStyleLbl="node1" presStyleIdx="6" presStyleCnt="7">
        <dgm:presLayoutVars>
          <dgm:bulletEnabled val="1"/>
        </dgm:presLayoutVars>
      </dgm:prSet>
      <dgm:spPr/>
      <dgm:t>
        <a:bodyPr/>
        <a:lstStyle/>
        <a:p>
          <a:endParaRPr lang="en-US"/>
        </a:p>
      </dgm:t>
    </dgm:pt>
    <dgm:pt modelId="{789C36B4-28FA-482C-A8D5-7E58DD7E1362}" type="pres">
      <dgm:prSet presAssocID="{4E250EC5-0D9E-4868-A319-2D2DDA28B36F}" presName="accent_7" presStyleCnt="0"/>
      <dgm:spPr/>
    </dgm:pt>
    <dgm:pt modelId="{FC2B678D-D6D1-401E-B412-D9BB61C066F6}" type="pres">
      <dgm:prSet presAssocID="{4E250EC5-0D9E-4868-A319-2D2DDA28B36F}" presName="accentRepeatNode" presStyleLbl="solidFgAcc1" presStyleIdx="6" presStyleCnt="7"/>
      <dgm:spPr/>
    </dgm:pt>
  </dgm:ptLst>
  <dgm:cxnLst>
    <dgm:cxn modelId="{ECA48BE9-2D70-4501-ACFA-01BAD59C73BF}" srcId="{AE674E3E-4189-4753-B565-080AB5587480}" destId="{6BC0C354-5D6C-4C31-A340-75D07DEDEE46}" srcOrd="2" destOrd="0" parTransId="{B89456A8-E03B-4E02-B1EA-945841284EF3}" sibTransId="{4B193232-E599-4757-BCAD-31CEC85613CC}"/>
    <dgm:cxn modelId="{8EB60EDF-12EA-4237-9C28-1B9D9233E8E5}" srcId="{AE674E3E-4189-4753-B565-080AB5587480}" destId="{27622475-7C33-4F3B-9B9A-739E83C1D195}" srcOrd="1" destOrd="0" parTransId="{1A271DFF-1CCA-4D79-9D7B-0C2836632484}" sibTransId="{498FCF77-7685-4415-A0EE-C245CE2CE039}"/>
    <dgm:cxn modelId="{956D2B03-0F9F-4942-931B-16E5CCAE0BE2}" srcId="{AE674E3E-4189-4753-B565-080AB5587480}" destId="{CEABAEF5-9885-4EB5-858D-F5E0FF4FDD78}" srcOrd="5" destOrd="0" parTransId="{3A766BAF-A7DE-4E67-90F5-E4FD97D9FB21}" sibTransId="{A72BD9AA-699A-4CA6-8D62-92FCA0A49E68}"/>
    <dgm:cxn modelId="{B780DD33-DE6E-42E7-8538-E58E9C05B43E}" type="presOf" srcId="{CEABAEF5-9885-4EB5-858D-F5E0FF4FDD78}" destId="{06F8FFE5-7755-424E-9855-829510F06D18}" srcOrd="0" destOrd="0" presId="urn:microsoft.com/office/officeart/2008/layout/VerticalCurvedList"/>
    <dgm:cxn modelId="{DAB71236-2DF4-4515-BC0F-88D82E310CDF}" type="presOf" srcId="{AE674E3E-4189-4753-B565-080AB5587480}" destId="{69C5F98E-A705-4481-85EB-9B7F11A55F7A}" srcOrd="0" destOrd="0" presId="urn:microsoft.com/office/officeart/2008/layout/VerticalCurvedList"/>
    <dgm:cxn modelId="{6E0A4AF2-F8E1-49CA-BC4A-B30BAD3781B2}" srcId="{AE674E3E-4189-4753-B565-080AB5587480}" destId="{4E250EC5-0D9E-4868-A319-2D2DDA28B36F}" srcOrd="6" destOrd="0" parTransId="{EB5DB1EB-0378-406E-8E53-6369EC708CC6}" sibTransId="{CE8D21AA-F251-4B0A-ABCD-372DE6AD0D29}"/>
    <dgm:cxn modelId="{BAE15A2A-461A-4DF8-B174-F4FCE5F08D6A}" srcId="{AE674E3E-4189-4753-B565-080AB5587480}" destId="{7F25FD84-22FE-4EA1-9249-C7FFE8D259F6}" srcOrd="0" destOrd="0" parTransId="{E9AE07CB-80A0-43DA-810B-F5BF002B0CB6}" sibTransId="{516493BF-58B3-49BE-AB6E-57341484DC1C}"/>
    <dgm:cxn modelId="{1CB77F49-713F-4B2A-928B-1893711D1138}" type="presOf" srcId="{2432CA43-BDEA-4581-9BD4-E0649DAAE0C2}" destId="{5694DA7C-D54A-450B-842C-CC82633188F0}" srcOrd="0" destOrd="0" presId="urn:microsoft.com/office/officeart/2008/layout/VerticalCurvedList"/>
    <dgm:cxn modelId="{B4C17E92-1B11-43FF-8F88-67875DAF640C}" type="presOf" srcId="{6BC0C354-5D6C-4C31-A340-75D07DEDEE46}" destId="{33A937CA-648C-435C-B92B-E52B8763FCE1}" srcOrd="0" destOrd="0" presId="urn:microsoft.com/office/officeart/2008/layout/VerticalCurvedList"/>
    <dgm:cxn modelId="{14338E99-A1CA-4925-A3C5-26B5697C25E5}" type="presOf" srcId="{BF972397-AF18-4B4A-9532-319018DB90A6}" destId="{52704F03-1512-40A0-9886-9A4150A0CB9C}" srcOrd="0" destOrd="0" presId="urn:microsoft.com/office/officeart/2008/layout/VerticalCurvedList"/>
    <dgm:cxn modelId="{787B9EC6-047F-4683-A21C-4043FF70A3FA}" srcId="{AE674E3E-4189-4753-B565-080AB5587480}" destId="{BF972397-AF18-4B4A-9532-319018DB90A6}" srcOrd="4" destOrd="0" parTransId="{A812D2F2-B26A-4610-8B9B-71CFC004E869}" sibTransId="{24F26FD9-B67E-416B-B92D-17EEEBD63634}"/>
    <dgm:cxn modelId="{1AED5095-AFD5-41F3-A676-9EEE8C8B63A0}" type="presOf" srcId="{27622475-7C33-4F3B-9B9A-739E83C1D195}" destId="{35AEFF2D-B71B-426C-AE40-63D98045B13B}" srcOrd="0" destOrd="0" presId="urn:microsoft.com/office/officeart/2008/layout/VerticalCurvedList"/>
    <dgm:cxn modelId="{1FD00F75-5749-4604-B5BF-0314C985170E}" type="presOf" srcId="{7F25FD84-22FE-4EA1-9249-C7FFE8D259F6}" destId="{2CE960BA-25FA-494A-B364-B6F17006F0BC}" srcOrd="0" destOrd="0" presId="urn:microsoft.com/office/officeart/2008/layout/VerticalCurvedList"/>
    <dgm:cxn modelId="{C05DEC0C-ECD6-4192-A629-ACE13F3D69FA}" type="presOf" srcId="{516493BF-58B3-49BE-AB6E-57341484DC1C}" destId="{26D5D76B-DF2D-4AC5-BC5C-4DC5F2CDA9BF}" srcOrd="0" destOrd="0" presId="urn:microsoft.com/office/officeart/2008/layout/VerticalCurvedList"/>
    <dgm:cxn modelId="{17CBBE6B-9D4F-46BA-A202-5E0A61FBD361}" srcId="{AE674E3E-4189-4753-B565-080AB5587480}" destId="{2432CA43-BDEA-4581-9BD4-E0649DAAE0C2}" srcOrd="3" destOrd="0" parTransId="{CDA31AB6-C125-467D-933C-B5CCA7F90A13}" sibTransId="{FC22D941-DF5D-4097-8C89-E06FCAAB4947}"/>
    <dgm:cxn modelId="{63C1E0EA-AF3A-4803-8582-87BE2C4E6505}" type="presOf" srcId="{4E250EC5-0D9E-4868-A319-2D2DDA28B36F}" destId="{641C7562-ED05-48F7-9E9F-97640C276035}" srcOrd="0" destOrd="0" presId="urn:microsoft.com/office/officeart/2008/layout/VerticalCurvedList"/>
    <dgm:cxn modelId="{B61AC4AC-0F91-413A-80C6-9616C4DB1FE6}" type="presParOf" srcId="{69C5F98E-A705-4481-85EB-9B7F11A55F7A}" destId="{DFF58809-CF26-42A6-A4B3-2D1B8EC242B1}" srcOrd="0" destOrd="0" presId="urn:microsoft.com/office/officeart/2008/layout/VerticalCurvedList"/>
    <dgm:cxn modelId="{6F67AFC4-C536-4019-8733-14583061497A}" type="presParOf" srcId="{DFF58809-CF26-42A6-A4B3-2D1B8EC242B1}" destId="{3095650F-4999-496A-B8BF-123889A6AE18}" srcOrd="0" destOrd="0" presId="urn:microsoft.com/office/officeart/2008/layout/VerticalCurvedList"/>
    <dgm:cxn modelId="{655DD695-0F2D-4D82-98E0-E793886D15F0}" type="presParOf" srcId="{3095650F-4999-496A-B8BF-123889A6AE18}" destId="{28DC13AD-0E90-4C04-BF7E-C4A603760856}" srcOrd="0" destOrd="0" presId="urn:microsoft.com/office/officeart/2008/layout/VerticalCurvedList"/>
    <dgm:cxn modelId="{8E5FB416-D9FB-4CA6-8E5F-DCD135FB0661}" type="presParOf" srcId="{3095650F-4999-496A-B8BF-123889A6AE18}" destId="{26D5D76B-DF2D-4AC5-BC5C-4DC5F2CDA9BF}" srcOrd="1" destOrd="0" presId="urn:microsoft.com/office/officeart/2008/layout/VerticalCurvedList"/>
    <dgm:cxn modelId="{80E256C0-42F9-4DD0-9601-721E986A1444}" type="presParOf" srcId="{3095650F-4999-496A-B8BF-123889A6AE18}" destId="{A4F99143-8ED2-4F09-8CDF-1231E318B1FB}" srcOrd="2" destOrd="0" presId="urn:microsoft.com/office/officeart/2008/layout/VerticalCurvedList"/>
    <dgm:cxn modelId="{C4B20619-716A-4957-ABC6-46F0999EB5B4}" type="presParOf" srcId="{3095650F-4999-496A-B8BF-123889A6AE18}" destId="{1C407A02-7758-488C-B3E4-A854A85C96D0}" srcOrd="3" destOrd="0" presId="urn:microsoft.com/office/officeart/2008/layout/VerticalCurvedList"/>
    <dgm:cxn modelId="{E20D164F-6447-4F3F-96EE-E2E7BA76E4E1}" type="presParOf" srcId="{DFF58809-CF26-42A6-A4B3-2D1B8EC242B1}" destId="{2CE960BA-25FA-494A-B364-B6F17006F0BC}" srcOrd="1" destOrd="0" presId="urn:microsoft.com/office/officeart/2008/layout/VerticalCurvedList"/>
    <dgm:cxn modelId="{13613B79-57B4-4B67-9F8D-97E879F8D7C0}" type="presParOf" srcId="{DFF58809-CF26-42A6-A4B3-2D1B8EC242B1}" destId="{9762B593-4A6B-4234-937A-12A42D855A75}" srcOrd="2" destOrd="0" presId="urn:microsoft.com/office/officeart/2008/layout/VerticalCurvedList"/>
    <dgm:cxn modelId="{5E2F3449-94CC-457B-A3BE-C23E38FA3DDC}" type="presParOf" srcId="{9762B593-4A6B-4234-937A-12A42D855A75}" destId="{D0FF1707-03FC-4C0B-A8F2-6E4FB3851E37}" srcOrd="0" destOrd="0" presId="urn:microsoft.com/office/officeart/2008/layout/VerticalCurvedList"/>
    <dgm:cxn modelId="{AB76AB88-C742-4E7C-AB0A-410126B5A2D6}" type="presParOf" srcId="{DFF58809-CF26-42A6-A4B3-2D1B8EC242B1}" destId="{35AEFF2D-B71B-426C-AE40-63D98045B13B}" srcOrd="3" destOrd="0" presId="urn:microsoft.com/office/officeart/2008/layout/VerticalCurvedList"/>
    <dgm:cxn modelId="{EB91DB39-6152-4954-9CDF-CF53681F3700}" type="presParOf" srcId="{DFF58809-CF26-42A6-A4B3-2D1B8EC242B1}" destId="{A2E7DAB8-EE81-436F-8CEC-EF4BE0A76925}" srcOrd="4" destOrd="0" presId="urn:microsoft.com/office/officeart/2008/layout/VerticalCurvedList"/>
    <dgm:cxn modelId="{ED2D9759-96AA-4D12-9BC7-D6A53DE36CB6}" type="presParOf" srcId="{A2E7DAB8-EE81-436F-8CEC-EF4BE0A76925}" destId="{CA65F3A6-4922-44CB-9889-6F0E38EB3737}" srcOrd="0" destOrd="0" presId="urn:microsoft.com/office/officeart/2008/layout/VerticalCurvedList"/>
    <dgm:cxn modelId="{14111A7F-815F-408C-96D1-3CE7BB367767}" type="presParOf" srcId="{DFF58809-CF26-42A6-A4B3-2D1B8EC242B1}" destId="{33A937CA-648C-435C-B92B-E52B8763FCE1}" srcOrd="5" destOrd="0" presId="urn:microsoft.com/office/officeart/2008/layout/VerticalCurvedList"/>
    <dgm:cxn modelId="{285124B7-AF64-45BE-B661-A9A00D479F4B}" type="presParOf" srcId="{DFF58809-CF26-42A6-A4B3-2D1B8EC242B1}" destId="{8736989A-0185-43A8-B7BA-EA1BFE62F4FF}" srcOrd="6" destOrd="0" presId="urn:microsoft.com/office/officeart/2008/layout/VerticalCurvedList"/>
    <dgm:cxn modelId="{18030F37-24FF-4171-9860-D40105E0D38D}" type="presParOf" srcId="{8736989A-0185-43A8-B7BA-EA1BFE62F4FF}" destId="{FDDBDC15-CCA1-450C-A858-89B1F3411143}" srcOrd="0" destOrd="0" presId="urn:microsoft.com/office/officeart/2008/layout/VerticalCurvedList"/>
    <dgm:cxn modelId="{C5C27079-0F1A-440B-AF59-BAD873CBC83B}" type="presParOf" srcId="{DFF58809-CF26-42A6-A4B3-2D1B8EC242B1}" destId="{5694DA7C-D54A-450B-842C-CC82633188F0}" srcOrd="7" destOrd="0" presId="urn:microsoft.com/office/officeart/2008/layout/VerticalCurvedList"/>
    <dgm:cxn modelId="{710B01BD-C394-4ECF-BF80-C87B930704C8}" type="presParOf" srcId="{DFF58809-CF26-42A6-A4B3-2D1B8EC242B1}" destId="{A8CD930E-338C-485B-976C-402736197240}" srcOrd="8" destOrd="0" presId="urn:microsoft.com/office/officeart/2008/layout/VerticalCurvedList"/>
    <dgm:cxn modelId="{464F17A2-AE6E-4E05-855E-4FDBFB1127C1}" type="presParOf" srcId="{A8CD930E-338C-485B-976C-402736197240}" destId="{48764E5B-FCD9-47BD-9747-7FA4761DAC00}" srcOrd="0" destOrd="0" presId="urn:microsoft.com/office/officeart/2008/layout/VerticalCurvedList"/>
    <dgm:cxn modelId="{911F190E-5247-4328-B1EB-FF5E4285E966}" type="presParOf" srcId="{DFF58809-CF26-42A6-A4B3-2D1B8EC242B1}" destId="{52704F03-1512-40A0-9886-9A4150A0CB9C}" srcOrd="9" destOrd="0" presId="urn:microsoft.com/office/officeart/2008/layout/VerticalCurvedList"/>
    <dgm:cxn modelId="{3AC41E12-23FF-40C2-9E0D-4E863DFF52BD}" type="presParOf" srcId="{DFF58809-CF26-42A6-A4B3-2D1B8EC242B1}" destId="{AF2BCEAF-A8FB-44F1-AD30-B271E74077C8}" srcOrd="10" destOrd="0" presId="urn:microsoft.com/office/officeart/2008/layout/VerticalCurvedList"/>
    <dgm:cxn modelId="{51743C0B-7D6F-4A97-AE76-A67CCE6E3AA2}" type="presParOf" srcId="{AF2BCEAF-A8FB-44F1-AD30-B271E74077C8}" destId="{5EF37550-80C2-450E-A209-C8060B77643B}" srcOrd="0" destOrd="0" presId="urn:microsoft.com/office/officeart/2008/layout/VerticalCurvedList"/>
    <dgm:cxn modelId="{5703F6A8-5999-4C89-8309-9487ED8C16E9}" type="presParOf" srcId="{DFF58809-CF26-42A6-A4B3-2D1B8EC242B1}" destId="{06F8FFE5-7755-424E-9855-829510F06D18}" srcOrd="11" destOrd="0" presId="urn:microsoft.com/office/officeart/2008/layout/VerticalCurvedList"/>
    <dgm:cxn modelId="{2422C5CB-0343-48B6-9D7F-A8D86397D0FB}" type="presParOf" srcId="{DFF58809-CF26-42A6-A4B3-2D1B8EC242B1}" destId="{CD119CA4-2431-4709-97C1-5594276FC9B8}" srcOrd="12" destOrd="0" presId="urn:microsoft.com/office/officeart/2008/layout/VerticalCurvedList"/>
    <dgm:cxn modelId="{56BE3270-BCB4-4D07-A7E0-622880803E3A}" type="presParOf" srcId="{CD119CA4-2431-4709-97C1-5594276FC9B8}" destId="{80AE99E9-E1CE-4600-A10C-9B51507BC5BC}" srcOrd="0" destOrd="0" presId="urn:microsoft.com/office/officeart/2008/layout/VerticalCurvedList"/>
    <dgm:cxn modelId="{CA893128-5B12-46A3-8A46-954A8D6D216E}" type="presParOf" srcId="{DFF58809-CF26-42A6-A4B3-2D1B8EC242B1}" destId="{641C7562-ED05-48F7-9E9F-97640C276035}" srcOrd="13" destOrd="0" presId="urn:microsoft.com/office/officeart/2008/layout/VerticalCurvedList"/>
    <dgm:cxn modelId="{3B20AC58-0747-42CA-B44A-14F83567CD95}" type="presParOf" srcId="{DFF58809-CF26-42A6-A4B3-2D1B8EC242B1}" destId="{789C36B4-28FA-482C-A8D5-7E58DD7E1362}" srcOrd="14" destOrd="0" presId="urn:microsoft.com/office/officeart/2008/layout/VerticalCurvedList"/>
    <dgm:cxn modelId="{9F61D525-5EDB-45AA-A850-53131BC9B99D}" type="presParOf" srcId="{789C36B4-28FA-482C-A8D5-7E58DD7E1362}" destId="{FC2B678D-D6D1-401E-B412-D9BB61C066F6}"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E674E3E-4189-4753-B565-080AB5587480}" type="doc">
      <dgm:prSet loTypeId="urn:microsoft.com/office/officeart/2008/layout/VerticalCurvedList" loCatId="list" qsTypeId="urn:microsoft.com/office/officeart/2005/8/quickstyle/simple3" qsCatId="simple" csTypeId="urn:microsoft.com/office/officeart/2005/8/colors/accent1_2" csCatId="accent1" phldr="1"/>
      <dgm:spPr/>
      <dgm:t>
        <a:bodyPr/>
        <a:lstStyle/>
        <a:p>
          <a:endParaRPr lang="ru-UA"/>
        </a:p>
      </dgm:t>
    </dgm:pt>
    <dgm:pt modelId="{7F25FD84-22FE-4EA1-9249-C7FFE8D259F6}">
      <dgm:prSet/>
      <dgm:spPr/>
      <dgm:t>
        <a:bodyPr/>
        <a:lstStyle/>
        <a:p>
          <a:r>
            <a:rPr lang="uk-UA"/>
            <a:t>збереження усіх посад та штатних одиниць, передбачених Типовими штатними нормативами дошкільних навчальних закладів, затвердженими наказом Міністерства освіти і науки України від 04.11.2010 р. № 1055, які є обов’язковими для врахування органами місцевого самоврядування та органами управління освіти і науки при затвердженні штатних розписів закладів дошкільної освіти</a:t>
          </a:r>
          <a:endParaRPr lang="ru-UA" dirty="0"/>
        </a:p>
      </dgm:t>
    </dgm:pt>
    <dgm:pt modelId="{E9AE07CB-80A0-43DA-810B-F5BF002B0CB6}" type="parTrans" cxnId="{BAE15A2A-461A-4DF8-B174-F4FCE5F08D6A}">
      <dgm:prSet/>
      <dgm:spPr/>
      <dgm:t>
        <a:bodyPr/>
        <a:lstStyle/>
        <a:p>
          <a:endParaRPr lang="ru-UA"/>
        </a:p>
      </dgm:t>
    </dgm:pt>
    <dgm:pt modelId="{516493BF-58B3-49BE-AB6E-57341484DC1C}" type="sibTrans" cxnId="{BAE15A2A-461A-4DF8-B174-F4FCE5F08D6A}">
      <dgm:prSet/>
      <dgm:spPr/>
      <dgm:t>
        <a:bodyPr/>
        <a:lstStyle/>
        <a:p>
          <a:endParaRPr lang="ru-UA"/>
        </a:p>
      </dgm:t>
    </dgm:pt>
    <dgm:pt modelId="{4E250EC5-0D9E-4868-A319-2D2DDA28B36F}">
      <dgm:prSet/>
      <dgm:spPr/>
      <dgm:t>
        <a:bodyPr/>
        <a:lstStyle/>
        <a:p>
          <a:r>
            <a:rPr lang="uk-UA" dirty="0"/>
            <a:t>Просимо зберегти посади, кількість штатних одиниць працівників та відповідну заробітну плату в ЗДО, зокрема в тих, які не функціонують у зв’язку з воєнними діями, які в окупації, а працівникам оголошено простій</a:t>
          </a:r>
          <a:endParaRPr lang="ru-UA" dirty="0"/>
        </a:p>
      </dgm:t>
    </dgm:pt>
    <dgm:pt modelId="{EB5DB1EB-0378-406E-8E53-6369EC708CC6}" type="parTrans" cxnId="{6E0A4AF2-F8E1-49CA-BC4A-B30BAD3781B2}">
      <dgm:prSet/>
      <dgm:spPr/>
    </dgm:pt>
    <dgm:pt modelId="{CE8D21AA-F251-4B0A-ABCD-372DE6AD0D29}" type="sibTrans" cxnId="{6E0A4AF2-F8E1-49CA-BC4A-B30BAD3781B2}">
      <dgm:prSet/>
      <dgm:spPr/>
    </dgm:pt>
    <dgm:pt modelId="{69C5F98E-A705-4481-85EB-9B7F11A55F7A}" type="pres">
      <dgm:prSet presAssocID="{AE674E3E-4189-4753-B565-080AB5587480}" presName="Name0" presStyleCnt="0">
        <dgm:presLayoutVars>
          <dgm:chMax val="7"/>
          <dgm:chPref val="7"/>
          <dgm:dir/>
        </dgm:presLayoutVars>
      </dgm:prSet>
      <dgm:spPr/>
      <dgm:t>
        <a:bodyPr/>
        <a:lstStyle/>
        <a:p>
          <a:endParaRPr lang="en-US"/>
        </a:p>
      </dgm:t>
    </dgm:pt>
    <dgm:pt modelId="{DFF58809-CF26-42A6-A4B3-2D1B8EC242B1}" type="pres">
      <dgm:prSet presAssocID="{AE674E3E-4189-4753-B565-080AB5587480}" presName="Name1" presStyleCnt="0"/>
      <dgm:spPr/>
    </dgm:pt>
    <dgm:pt modelId="{3095650F-4999-496A-B8BF-123889A6AE18}" type="pres">
      <dgm:prSet presAssocID="{AE674E3E-4189-4753-B565-080AB5587480}" presName="cycle" presStyleCnt="0"/>
      <dgm:spPr/>
    </dgm:pt>
    <dgm:pt modelId="{28DC13AD-0E90-4C04-BF7E-C4A603760856}" type="pres">
      <dgm:prSet presAssocID="{AE674E3E-4189-4753-B565-080AB5587480}" presName="srcNode" presStyleLbl="node1" presStyleIdx="0" presStyleCnt="2"/>
      <dgm:spPr/>
    </dgm:pt>
    <dgm:pt modelId="{26D5D76B-DF2D-4AC5-BC5C-4DC5F2CDA9BF}" type="pres">
      <dgm:prSet presAssocID="{AE674E3E-4189-4753-B565-080AB5587480}" presName="conn" presStyleLbl="parChTrans1D2" presStyleIdx="0" presStyleCnt="1"/>
      <dgm:spPr/>
      <dgm:t>
        <a:bodyPr/>
        <a:lstStyle/>
        <a:p>
          <a:endParaRPr lang="en-US"/>
        </a:p>
      </dgm:t>
    </dgm:pt>
    <dgm:pt modelId="{A4F99143-8ED2-4F09-8CDF-1231E318B1FB}" type="pres">
      <dgm:prSet presAssocID="{AE674E3E-4189-4753-B565-080AB5587480}" presName="extraNode" presStyleLbl="node1" presStyleIdx="0" presStyleCnt="2"/>
      <dgm:spPr/>
    </dgm:pt>
    <dgm:pt modelId="{1C407A02-7758-488C-B3E4-A854A85C96D0}" type="pres">
      <dgm:prSet presAssocID="{AE674E3E-4189-4753-B565-080AB5587480}" presName="dstNode" presStyleLbl="node1" presStyleIdx="0" presStyleCnt="2"/>
      <dgm:spPr/>
    </dgm:pt>
    <dgm:pt modelId="{2CE960BA-25FA-494A-B364-B6F17006F0BC}" type="pres">
      <dgm:prSet presAssocID="{7F25FD84-22FE-4EA1-9249-C7FFE8D259F6}" presName="text_1" presStyleLbl="node1" presStyleIdx="0" presStyleCnt="2">
        <dgm:presLayoutVars>
          <dgm:bulletEnabled val="1"/>
        </dgm:presLayoutVars>
      </dgm:prSet>
      <dgm:spPr/>
      <dgm:t>
        <a:bodyPr/>
        <a:lstStyle/>
        <a:p>
          <a:endParaRPr lang="en-US"/>
        </a:p>
      </dgm:t>
    </dgm:pt>
    <dgm:pt modelId="{9762B593-4A6B-4234-937A-12A42D855A75}" type="pres">
      <dgm:prSet presAssocID="{7F25FD84-22FE-4EA1-9249-C7FFE8D259F6}" presName="accent_1" presStyleCnt="0"/>
      <dgm:spPr/>
    </dgm:pt>
    <dgm:pt modelId="{D0FF1707-03FC-4C0B-A8F2-6E4FB3851E37}" type="pres">
      <dgm:prSet presAssocID="{7F25FD84-22FE-4EA1-9249-C7FFE8D259F6}" presName="accentRepeatNode" presStyleLbl="solidFgAcc1" presStyleIdx="0" presStyleCnt="2"/>
      <dgm:spPr/>
    </dgm:pt>
    <dgm:pt modelId="{8E5E667D-BDC6-401E-86CD-7D905524FBE3}" type="pres">
      <dgm:prSet presAssocID="{4E250EC5-0D9E-4868-A319-2D2DDA28B36F}" presName="text_2" presStyleLbl="node1" presStyleIdx="1" presStyleCnt="2">
        <dgm:presLayoutVars>
          <dgm:bulletEnabled val="1"/>
        </dgm:presLayoutVars>
      </dgm:prSet>
      <dgm:spPr/>
      <dgm:t>
        <a:bodyPr/>
        <a:lstStyle/>
        <a:p>
          <a:endParaRPr lang="en-US"/>
        </a:p>
      </dgm:t>
    </dgm:pt>
    <dgm:pt modelId="{4E176D7C-1619-4BFA-BB47-3EA8FE0088FE}" type="pres">
      <dgm:prSet presAssocID="{4E250EC5-0D9E-4868-A319-2D2DDA28B36F}" presName="accent_2" presStyleCnt="0"/>
      <dgm:spPr/>
    </dgm:pt>
    <dgm:pt modelId="{FC2B678D-D6D1-401E-B412-D9BB61C066F6}" type="pres">
      <dgm:prSet presAssocID="{4E250EC5-0D9E-4868-A319-2D2DDA28B36F}" presName="accentRepeatNode" presStyleLbl="solidFgAcc1" presStyleIdx="1" presStyleCnt="2"/>
      <dgm:spPr/>
    </dgm:pt>
  </dgm:ptLst>
  <dgm:cxnLst>
    <dgm:cxn modelId="{BAE15A2A-461A-4DF8-B174-F4FCE5F08D6A}" srcId="{AE674E3E-4189-4753-B565-080AB5587480}" destId="{7F25FD84-22FE-4EA1-9249-C7FFE8D259F6}" srcOrd="0" destOrd="0" parTransId="{E9AE07CB-80A0-43DA-810B-F5BF002B0CB6}" sibTransId="{516493BF-58B3-49BE-AB6E-57341484DC1C}"/>
    <dgm:cxn modelId="{C05DEC0C-ECD6-4192-A629-ACE13F3D69FA}" type="presOf" srcId="{516493BF-58B3-49BE-AB6E-57341484DC1C}" destId="{26D5D76B-DF2D-4AC5-BC5C-4DC5F2CDA9BF}" srcOrd="0" destOrd="0" presId="urn:microsoft.com/office/officeart/2008/layout/VerticalCurvedList"/>
    <dgm:cxn modelId="{1FD00F75-5749-4604-B5BF-0314C985170E}" type="presOf" srcId="{7F25FD84-22FE-4EA1-9249-C7FFE8D259F6}" destId="{2CE960BA-25FA-494A-B364-B6F17006F0BC}" srcOrd="0" destOrd="0" presId="urn:microsoft.com/office/officeart/2008/layout/VerticalCurvedList"/>
    <dgm:cxn modelId="{6E0A4AF2-F8E1-49CA-BC4A-B30BAD3781B2}" srcId="{AE674E3E-4189-4753-B565-080AB5587480}" destId="{4E250EC5-0D9E-4868-A319-2D2DDA28B36F}" srcOrd="1" destOrd="0" parTransId="{EB5DB1EB-0378-406E-8E53-6369EC708CC6}" sibTransId="{CE8D21AA-F251-4B0A-ABCD-372DE6AD0D29}"/>
    <dgm:cxn modelId="{840C9BEC-267D-479D-A40F-79E8F8585C4A}" type="presOf" srcId="{4E250EC5-0D9E-4868-A319-2D2DDA28B36F}" destId="{8E5E667D-BDC6-401E-86CD-7D905524FBE3}" srcOrd="0" destOrd="0" presId="urn:microsoft.com/office/officeart/2008/layout/VerticalCurvedList"/>
    <dgm:cxn modelId="{DAB71236-2DF4-4515-BC0F-88D82E310CDF}" type="presOf" srcId="{AE674E3E-4189-4753-B565-080AB5587480}" destId="{69C5F98E-A705-4481-85EB-9B7F11A55F7A}" srcOrd="0" destOrd="0" presId="urn:microsoft.com/office/officeart/2008/layout/VerticalCurvedList"/>
    <dgm:cxn modelId="{B61AC4AC-0F91-413A-80C6-9616C4DB1FE6}" type="presParOf" srcId="{69C5F98E-A705-4481-85EB-9B7F11A55F7A}" destId="{DFF58809-CF26-42A6-A4B3-2D1B8EC242B1}" srcOrd="0" destOrd="0" presId="urn:microsoft.com/office/officeart/2008/layout/VerticalCurvedList"/>
    <dgm:cxn modelId="{6F67AFC4-C536-4019-8733-14583061497A}" type="presParOf" srcId="{DFF58809-CF26-42A6-A4B3-2D1B8EC242B1}" destId="{3095650F-4999-496A-B8BF-123889A6AE18}" srcOrd="0" destOrd="0" presId="urn:microsoft.com/office/officeart/2008/layout/VerticalCurvedList"/>
    <dgm:cxn modelId="{655DD695-0F2D-4D82-98E0-E793886D15F0}" type="presParOf" srcId="{3095650F-4999-496A-B8BF-123889A6AE18}" destId="{28DC13AD-0E90-4C04-BF7E-C4A603760856}" srcOrd="0" destOrd="0" presId="urn:microsoft.com/office/officeart/2008/layout/VerticalCurvedList"/>
    <dgm:cxn modelId="{8E5FB416-D9FB-4CA6-8E5F-DCD135FB0661}" type="presParOf" srcId="{3095650F-4999-496A-B8BF-123889A6AE18}" destId="{26D5D76B-DF2D-4AC5-BC5C-4DC5F2CDA9BF}" srcOrd="1" destOrd="0" presId="urn:microsoft.com/office/officeart/2008/layout/VerticalCurvedList"/>
    <dgm:cxn modelId="{80E256C0-42F9-4DD0-9601-721E986A1444}" type="presParOf" srcId="{3095650F-4999-496A-B8BF-123889A6AE18}" destId="{A4F99143-8ED2-4F09-8CDF-1231E318B1FB}" srcOrd="2" destOrd="0" presId="urn:microsoft.com/office/officeart/2008/layout/VerticalCurvedList"/>
    <dgm:cxn modelId="{C4B20619-716A-4957-ABC6-46F0999EB5B4}" type="presParOf" srcId="{3095650F-4999-496A-B8BF-123889A6AE18}" destId="{1C407A02-7758-488C-B3E4-A854A85C96D0}" srcOrd="3" destOrd="0" presId="urn:microsoft.com/office/officeart/2008/layout/VerticalCurvedList"/>
    <dgm:cxn modelId="{E20D164F-6447-4F3F-96EE-E2E7BA76E4E1}" type="presParOf" srcId="{DFF58809-CF26-42A6-A4B3-2D1B8EC242B1}" destId="{2CE960BA-25FA-494A-B364-B6F17006F0BC}" srcOrd="1" destOrd="0" presId="urn:microsoft.com/office/officeart/2008/layout/VerticalCurvedList"/>
    <dgm:cxn modelId="{13613B79-57B4-4B67-9F8D-97E879F8D7C0}" type="presParOf" srcId="{DFF58809-CF26-42A6-A4B3-2D1B8EC242B1}" destId="{9762B593-4A6B-4234-937A-12A42D855A75}" srcOrd="2" destOrd="0" presId="urn:microsoft.com/office/officeart/2008/layout/VerticalCurvedList"/>
    <dgm:cxn modelId="{5E2F3449-94CC-457B-A3BE-C23E38FA3DDC}" type="presParOf" srcId="{9762B593-4A6B-4234-937A-12A42D855A75}" destId="{D0FF1707-03FC-4C0B-A8F2-6E4FB3851E37}" srcOrd="0" destOrd="0" presId="urn:microsoft.com/office/officeart/2008/layout/VerticalCurvedList"/>
    <dgm:cxn modelId="{51F3B0A5-2964-4DCD-9CB6-D0A30BB8AD85}" type="presParOf" srcId="{DFF58809-CF26-42A6-A4B3-2D1B8EC242B1}" destId="{8E5E667D-BDC6-401E-86CD-7D905524FBE3}" srcOrd="3" destOrd="0" presId="urn:microsoft.com/office/officeart/2008/layout/VerticalCurvedList"/>
    <dgm:cxn modelId="{17035A9D-FFDF-46A9-9E50-E44FECB25DEE}" type="presParOf" srcId="{DFF58809-CF26-42A6-A4B3-2D1B8EC242B1}" destId="{4E176D7C-1619-4BFA-BB47-3EA8FE0088FE}" srcOrd="4" destOrd="0" presId="urn:microsoft.com/office/officeart/2008/layout/VerticalCurvedList"/>
    <dgm:cxn modelId="{C60101F1-AE96-45E2-B4DB-01D28699E09D}" type="presParOf" srcId="{4E176D7C-1619-4BFA-BB47-3EA8FE0088FE}" destId="{FC2B678D-D6D1-401E-B412-D9BB61C066F6}"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50A5FF14-6E91-44FA-A51B-1C31DF6FC79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AA7F129A-39F8-4E37-A51A-8A89915D0C69}">
      <dgm:prSet phldrT="[Текст]"/>
      <dgm:spPr>
        <a:solidFill>
          <a:schemeClr val="accent2">
            <a:lumMod val="20000"/>
            <a:lumOff val="80000"/>
          </a:schemeClr>
        </a:solidFill>
      </dgm:spPr>
      <dgm:t>
        <a:bodyPr vert="vert270"/>
        <a:lstStyle/>
        <a:p>
          <a:pPr algn="ctr"/>
          <a:r>
            <a:rPr lang="uk-UA" dirty="0"/>
            <a:t>Справа про простій (ВНЗ) </a:t>
          </a:r>
        </a:p>
        <a:p>
          <a:pPr algn="ctr"/>
          <a:r>
            <a:rPr lang="ru-RU" b="0" i="0" dirty="0"/>
            <a:t>Справа № 335/3371/22</a:t>
          </a:r>
          <a:endParaRPr lang="ru-UA" dirty="0"/>
        </a:p>
      </dgm:t>
    </dgm:pt>
    <dgm:pt modelId="{63BF66A6-09F3-4527-88E3-6381FFBE5AD5}" type="parTrans" cxnId="{E76A9518-2FAE-46BA-9C12-6E06DACB0B5D}">
      <dgm:prSet/>
      <dgm:spPr/>
      <dgm:t>
        <a:bodyPr/>
        <a:lstStyle/>
        <a:p>
          <a:endParaRPr lang="ru-UA"/>
        </a:p>
      </dgm:t>
    </dgm:pt>
    <dgm:pt modelId="{BA214040-64A2-4A16-B651-4D733AFFE4C6}" type="sibTrans" cxnId="{E76A9518-2FAE-46BA-9C12-6E06DACB0B5D}">
      <dgm:prSet/>
      <dgm:spPr/>
      <dgm:t>
        <a:bodyPr/>
        <a:lstStyle/>
        <a:p>
          <a:endParaRPr lang="ru-UA"/>
        </a:p>
      </dgm:t>
    </dgm:pt>
    <dgm:pt modelId="{8DAEB9DC-3CB1-4F23-B2DB-CA985410F4C2}">
      <dgm:prSet phldrT="[Текст]"/>
      <dgm:spPr/>
      <dgm:t>
        <a:bodyPr/>
        <a:lstStyle/>
        <a:p>
          <a:r>
            <a:rPr lang="uk-UA" dirty="0"/>
            <a:t>Запроваджено дистанційну роботу</a:t>
          </a:r>
          <a:endParaRPr lang="ru-UA" dirty="0"/>
        </a:p>
      </dgm:t>
    </dgm:pt>
    <dgm:pt modelId="{94297B8E-4E83-4E2C-881D-C820F5DD3E9A}" type="parTrans" cxnId="{CDA2D0D8-F605-4EA0-B12C-74EB4870C248}">
      <dgm:prSet/>
      <dgm:spPr/>
      <dgm:t>
        <a:bodyPr/>
        <a:lstStyle/>
        <a:p>
          <a:endParaRPr lang="ru-UA"/>
        </a:p>
      </dgm:t>
    </dgm:pt>
    <dgm:pt modelId="{E61B12C0-DD26-4203-838C-DC3BBEAF4A3F}" type="sibTrans" cxnId="{CDA2D0D8-F605-4EA0-B12C-74EB4870C248}">
      <dgm:prSet/>
      <dgm:spPr/>
      <dgm:t>
        <a:bodyPr/>
        <a:lstStyle/>
        <a:p>
          <a:endParaRPr lang="ru-UA"/>
        </a:p>
      </dgm:t>
    </dgm:pt>
    <dgm:pt modelId="{B2A23F94-A4EC-4C97-BB35-F92B83B780A0}">
      <dgm:prSet phldrT="[Текст]"/>
      <dgm:spPr/>
      <dgm:t>
        <a:bodyPr/>
        <a:lstStyle/>
        <a:p>
          <a:r>
            <a:rPr lang="uk-UA" dirty="0"/>
            <a:t>Оголошено простій. Акт простою не складено. З рішенням працівника не ознайомлено. Оплата 2/3 від окладу. Працівник продовжував працювати.</a:t>
          </a:r>
          <a:endParaRPr lang="ru-UA" dirty="0"/>
        </a:p>
      </dgm:t>
    </dgm:pt>
    <dgm:pt modelId="{8F6F6E59-92AB-479B-BB5F-0F775359712A}" type="parTrans" cxnId="{D479ABDE-EDBA-46B3-99F9-DF21A141CAF5}">
      <dgm:prSet/>
      <dgm:spPr/>
      <dgm:t>
        <a:bodyPr/>
        <a:lstStyle/>
        <a:p>
          <a:endParaRPr lang="ru-UA"/>
        </a:p>
      </dgm:t>
    </dgm:pt>
    <dgm:pt modelId="{41A893FE-0153-48B5-A0B0-D09CE5430403}" type="sibTrans" cxnId="{D479ABDE-EDBA-46B3-99F9-DF21A141CAF5}">
      <dgm:prSet/>
      <dgm:spPr/>
      <dgm:t>
        <a:bodyPr/>
        <a:lstStyle/>
        <a:p>
          <a:endParaRPr lang="ru-UA"/>
        </a:p>
      </dgm:t>
    </dgm:pt>
    <dgm:pt modelId="{27F56B54-934B-4E3A-8445-FA26BB3CE89C}">
      <dgm:prSet phldrT="[Текст]"/>
      <dgm:spPr/>
      <dgm:t>
        <a:bodyPr/>
        <a:lstStyle/>
        <a:p>
          <a:r>
            <a:rPr lang="uk-UA" b="0" i="0" noProof="0" dirty="0"/>
            <a:t>У спірних наказах посилання на положення ст. 34 КЗпП України як на підставу встановлення простою відсутні. Накази містять посилання на ст. 113 КЗпП України та прийняті у зв`язку з військовою агресією Російської Федерації проти України та запровадженням воєнного стану згідно з Указом «Про введення воєнного стану в Україні»</a:t>
          </a:r>
          <a:endParaRPr lang="uk-UA" noProof="0" dirty="0"/>
        </a:p>
      </dgm:t>
    </dgm:pt>
    <dgm:pt modelId="{A57B0342-F409-4F18-9C32-BE569B2CEBC4}" type="parTrans" cxnId="{B35C8C81-F4A0-437D-A283-88248B7F72CC}">
      <dgm:prSet/>
      <dgm:spPr/>
      <dgm:t>
        <a:bodyPr/>
        <a:lstStyle/>
        <a:p>
          <a:endParaRPr lang="ru-UA"/>
        </a:p>
      </dgm:t>
    </dgm:pt>
    <dgm:pt modelId="{82F004CF-4B6A-4BA8-900D-93B379CE2B17}" type="sibTrans" cxnId="{B35C8C81-F4A0-437D-A283-88248B7F72CC}">
      <dgm:prSet/>
      <dgm:spPr/>
      <dgm:t>
        <a:bodyPr/>
        <a:lstStyle/>
        <a:p>
          <a:endParaRPr lang="ru-UA"/>
        </a:p>
      </dgm:t>
    </dgm:pt>
    <dgm:pt modelId="{DC1747FD-EA5B-459F-BCA8-A4B901B6DCE8}" type="pres">
      <dgm:prSet presAssocID="{50A5FF14-6E91-44FA-A51B-1C31DF6FC79F}" presName="vert0" presStyleCnt="0">
        <dgm:presLayoutVars>
          <dgm:dir/>
          <dgm:animOne val="branch"/>
          <dgm:animLvl val="lvl"/>
        </dgm:presLayoutVars>
      </dgm:prSet>
      <dgm:spPr/>
      <dgm:t>
        <a:bodyPr/>
        <a:lstStyle/>
        <a:p>
          <a:endParaRPr lang="en-US"/>
        </a:p>
      </dgm:t>
    </dgm:pt>
    <dgm:pt modelId="{5CF985C4-2067-4047-BA7D-3E7421B6ADF5}" type="pres">
      <dgm:prSet presAssocID="{AA7F129A-39F8-4E37-A51A-8A89915D0C69}" presName="thickLine" presStyleLbl="alignNode1" presStyleIdx="0" presStyleCnt="1"/>
      <dgm:spPr/>
    </dgm:pt>
    <dgm:pt modelId="{D309DAB1-D711-4676-B0C9-9800CF1508A1}" type="pres">
      <dgm:prSet presAssocID="{AA7F129A-39F8-4E37-A51A-8A89915D0C69}" presName="horz1" presStyleCnt="0"/>
      <dgm:spPr/>
    </dgm:pt>
    <dgm:pt modelId="{44949010-F43F-4273-BF25-436505F95A4B}" type="pres">
      <dgm:prSet presAssocID="{AA7F129A-39F8-4E37-A51A-8A89915D0C69}" presName="tx1" presStyleLbl="revTx" presStyleIdx="0" presStyleCnt="4" custScaleX="57921"/>
      <dgm:spPr/>
      <dgm:t>
        <a:bodyPr/>
        <a:lstStyle/>
        <a:p>
          <a:endParaRPr lang="en-US"/>
        </a:p>
      </dgm:t>
    </dgm:pt>
    <dgm:pt modelId="{75D8827E-E612-4E90-9865-159664BEB206}" type="pres">
      <dgm:prSet presAssocID="{AA7F129A-39F8-4E37-A51A-8A89915D0C69}" presName="vert1" presStyleCnt="0"/>
      <dgm:spPr/>
    </dgm:pt>
    <dgm:pt modelId="{4ADF22E8-3100-462E-BD11-86CD665F8D0C}" type="pres">
      <dgm:prSet presAssocID="{8DAEB9DC-3CB1-4F23-B2DB-CA985410F4C2}" presName="vertSpace2a" presStyleCnt="0"/>
      <dgm:spPr/>
    </dgm:pt>
    <dgm:pt modelId="{E89453A4-B185-47D3-849E-E9CABF201404}" type="pres">
      <dgm:prSet presAssocID="{8DAEB9DC-3CB1-4F23-B2DB-CA985410F4C2}" presName="horz2" presStyleCnt="0"/>
      <dgm:spPr/>
    </dgm:pt>
    <dgm:pt modelId="{464B60E8-6366-42D9-A004-6BC91C48E882}" type="pres">
      <dgm:prSet presAssocID="{8DAEB9DC-3CB1-4F23-B2DB-CA985410F4C2}" presName="horzSpace2" presStyleCnt="0"/>
      <dgm:spPr/>
    </dgm:pt>
    <dgm:pt modelId="{84131AAB-2705-453B-9466-179E67A33C0A}" type="pres">
      <dgm:prSet presAssocID="{8DAEB9DC-3CB1-4F23-B2DB-CA985410F4C2}" presName="tx2" presStyleLbl="revTx" presStyleIdx="1" presStyleCnt="4"/>
      <dgm:spPr/>
      <dgm:t>
        <a:bodyPr/>
        <a:lstStyle/>
        <a:p>
          <a:endParaRPr lang="en-US"/>
        </a:p>
      </dgm:t>
    </dgm:pt>
    <dgm:pt modelId="{5AF543EF-8350-4780-A716-140E37046FB1}" type="pres">
      <dgm:prSet presAssocID="{8DAEB9DC-3CB1-4F23-B2DB-CA985410F4C2}" presName="vert2" presStyleCnt="0"/>
      <dgm:spPr/>
    </dgm:pt>
    <dgm:pt modelId="{81DB2667-891F-46F6-87CB-9D0638423E56}" type="pres">
      <dgm:prSet presAssocID="{8DAEB9DC-3CB1-4F23-B2DB-CA985410F4C2}" presName="thinLine2b" presStyleLbl="callout" presStyleIdx="0" presStyleCnt="3"/>
      <dgm:spPr/>
    </dgm:pt>
    <dgm:pt modelId="{E0DB8A00-2A7A-4B90-AC2F-B1E0849E1DBE}" type="pres">
      <dgm:prSet presAssocID="{8DAEB9DC-3CB1-4F23-B2DB-CA985410F4C2}" presName="vertSpace2b" presStyleCnt="0"/>
      <dgm:spPr/>
    </dgm:pt>
    <dgm:pt modelId="{C53C17A6-55AC-4EAA-9EA1-D63E2AAA0025}" type="pres">
      <dgm:prSet presAssocID="{B2A23F94-A4EC-4C97-BB35-F92B83B780A0}" presName="horz2" presStyleCnt="0"/>
      <dgm:spPr/>
    </dgm:pt>
    <dgm:pt modelId="{B4DE0A4A-DE8D-4CA4-A73D-F4986CE47A4E}" type="pres">
      <dgm:prSet presAssocID="{B2A23F94-A4EC-4C97-BB35-F92B83B780A0}" presName="horzSpace2" presStyleCnt="0"/>
      <dgm:spPr/>
    </dgm:pt>
    <dgm:pt modelId="{5B07DF82-DC38-4B52-A931-DAA4389F017B}" type="pres">
      <dgm:prSet presAssocID="{B2A23F94-A4EC-4C97-BB35-F92B83B780A0}" presName="tx2" presStyleLbl="revTx" presStyleIdx="2" presStyleCnt="4"/>
      <dgm:spPr/>
      <dgm:t>
        <a:bodyPr/>
        <a:lstStyle/>
        <a:p>
          <a:endParaRPr lang="en-US"/>
        </a:p>
      </dgm:t>
    </dgm:pt>
    <dgm:pt modelId="{10DDAC69-CCBF-4A78-814D-67B72EC11F79}" type="pres">
      <dgm:prSet presAssocID="{B2A23F94-A4EC-4C97-BB35-F92B83B780A0}" presName="vert2" presStyleCnt="0"/>
      <dgm:spPr/>
    </dgm:pt>
    <dgm:pt modelId="{6B27170D-1061-408B-8B34-5CBCA78B88AB}" type="pres">
      <dgm:prSet presAssocID="{B2A23F94-A4EC-4C97-BB35-F92B83B780A0}" presName="thinLine2b" presStyleLbl="callout" presStyleIdx="1" presStyleCnt="3"/>
      <dgm:spPr/>
    </dgm:pt>
    <dgm:pt modelId="{279E605E-E053-4D98-A68A-BD230BE9CCD2}" type="pres">
      <dgm:prSet presAssocID="{B2A23F94-A4EC-4C97-BB35-F92B83B780A0}" presName="vertSpace2b" presStyleCnt="0"/>
      <dgm:spPr/>
    </dgm:pt>
    <dgm:pt modelId="{65782B8B-C5CC-4EBB-9D1E-7859E80F1BB9}" type="pres">
      <dgm:prSet presAssocID="{27F56B54-934B-4E3A-8445-FA26BB3CE89C}" presName="horz2" presStyleCnt="0"/>
      <dgm:spPr/>
    </dgm:pt>
    <dgm:pt modelId="{8690290D-EA1F-4D6D-9F3C-3D0AB3CD5A1F}" type="pres">
      <dgm:prSet presAssocID="{27F56B54-934B-4E3A-8445-FA26BB3CE89C}" presName="horzSpace2" presStyleCnt="0"/>
      <dgm:spPr/>
    </dgm:pt>
    <dgm:pt modelId="{EBF3146E-A2AB-42BA-A1FD-33AF22DFB1C4}" type="pres">
      <dgm:prSet presAssocID="{27F56B54-934B-4E3A-8445-FA26BB3CE89C}" presName="tx2" presStyleLbl="revTx" presStyleIdx="3" presStyleCnt="4"/>
      <dgm:spPr/>
      <dgm:t>
        <a:bodyPr/>
        <a:lstStyle/>
        <a:p>
          <a:endParaRPr lang="en-US"/>
        </a:p>
      </dgm:t>
    </dgm:pt>
    <dgm:pt modelId="{1EA10885-9B8A-4B42-93B6-C1B58062C52F}" type="pres">
      <dgm:prSet presAssocID="{27F56B54-934B-4E3A-8445-FA26BB3CE89C}" presName="vert2" presStyleCnt="0"/>
      <dgm:spPr/>
    </dgm:pt>
    <dgm:pt modelId="{98DF41B8-5D6A-4631-BC1D-C5063401B9D3}" type="pres">
      <dgm:prSet presAssocID="{27F56B54-934B-4E3A-8445-FA26BB3CE89C}" presName="thinLine2b" presStyleLbl="callout" presStyleIdx="2" presStyleCnt="3"/>
      <dgm:spPr/>
    </dgm:pt>
    <dgm:pt modelId="{780B34CE-08A1-48D1-9003-65629E08C00F}" type="pres">
      <dgm:prSet presAssocID="{27F56B54-934B-4E3A-8445-FA26BB3CE89C}" presName="vertSpace2b" presStyleCnt="0"/>
      <dgm:spPr/>
    </dgm:pt>
  </dgm:ptLst>
  <dgm:cxnLst>
    <dgm:cxn modelId="{D479ABDE-EDBA-46B3-99F9-DF21A141CAF5}" srcId="{AA7F129A-39F8-4E37-A51A-8A89915D0C69}" destId="{B2A23F94-A4EC-4C97-BB35-F92B83B780A0}" srcOrd="1" destOrd="0" parTransId="{8F6F6E59-92AB-479B-BB5F-0F775359712A}" sibTransId="{41A893FE-0153-48B5-A0B0-D09CE5430403}"/>
    <dgm:cxn modelId="{12AC4C54-8688-4C2D-88A7-1E91D4B00D78}" type="presOf" srcId="{27F56B54-934B-4E3A-8445-FA26BB3CE89C}" destId="{EBF3146E-A2AB-42BA-A1FD-33AF22DFB1C4}" srcOrd="0" destOrd="0" presId="urn:microsoft.com/office/officeart/2008/layout/LinedList"/>
    <dgm:cxn modelId="{CDA2D0D8-F605-4EA0-B12C-74EB4870C248}" srcId="{AA7F129A-39F8-4E37-A51A-8A89915D0C69}" destId="{8DAEB9DC-3CB1-4F23-B2DB-CA985410F4C2}" srcOrd="0" destOrd="0" parTransId="{94297B8E-4E83-4E2C-881D-C820F5DD3E9A}" sibTransId="{E61B12C0-DD26-4203-838C-DC3BBEAF4A3F}"/>
    <dgm:cxn modelId="{5BD7F51D-51B0-491D-9A7E-62E915CB135A}" type="presOf" srcId="{B2A23F94-A4EC-4C97-BB35-F92B83B780A0}" destId="{5B07DF82-DC38-4B52-A931-DAA4389F017B}" srcOrd="0" destOrd="0" presId="urn:microsoft.com/office/officeart/2008/layout/LinedList"/>
    <dgm:cxn modelId="{0E8C992E-7BCF-4AF3-B86C-BD429208E5B3}" type="presOf" srcId="{50A5FF14-6E91-44FA-A51B-1C31DF6FC79F}" destId="{DC1747FD-EA5B-459F-BCA8-A4B901B6DCE8}" srcOrd="0" destOrd="0" presId="urn:microsoft.com/office/officeart/2008/layout/LinedList"/>
    <dgm:cxn modelId="{B92730E8-BBA6-4CC4-9228-702B64AABD1D}" type="presOf" srcId="{AA7F129A-39F8-4E37-A51A-8A89915D0C69}" destId="{44949010-F43F-4273-BF25-436505F95A4B}" srcOrd="0" destOrd="0" presId="urn:microsoft.com/office/officeart/2008/layout/LinedList"/>
    <dgm:cxn modelId="{E76A9518-2FAE-46BA-9C12-6E06DACB0B5D}" srcId="{50A5FF14-6E91-44FA-A51B-1C31DF6FC79F}" destId="{AA7F129A-39F8-4E37-A51A-8A89915D0C69}" srcOrd="0" destOrd="0" parTransId="{63BF66A6-09F3-4527-88E3-6381FFBE5AD5}" sibTransId="{BA214040-64A2-4A16-B651-4D733AFFE4C6}"/>
    <dgm:cxn modelId="{B35C8C81-F4A0-437D-A283-88248B7F72CC}" srcId="{AA7F129A-39F8-4E37-A51A-8A89915D0C69}" destId="{27F56B54-934B-4E3A-8445-FA26BB3CE89C}" srcOrd="2" destOrd="0" parTransId="{A57B0342-F409-4F18-9C32-BE569B2CEBC4}" sibTransId="{82F004CF-4B6A-4BA8-900D-93B379CE2B17}"/>
    <dgm:cxn modelId="{0D03DDB4-6575-47F9-AE6A-C6E9F789A458}" type="presOf" srcId="{8DAEB9DC-3CB1-4F23-B2DB-CA985410F4C2}" destId="{84131AAB-2705-453B-9466-179E67A33C0A}" srcOrd="0" destOrd="0" presId="urn:microsoft.com/office/officeart/2008/layout/LinedList"/>
    <dgm:cxn modelId="{64F70EA9-E0D5-417D-864C-31486F6A85AD}" type="presParOf" srcId="{DC1747FD-EA5B-459F-BCA8-A4B901B6DCE8}" destId="{5CF985C4-2067-4047-BA7D-3E7421B6ADF5}" srcOrd="0" destOrd="0" presId="urn:microsoft.com/office/officeart/2008/layout/LinedList"/>
    <dgm:cxn modelId="{C1B7A34D-530E-47A7-91D7-C800FA9815BF}" type="presParOf" srcId="{DC1747FD-EA5B-459F-BCA8-A4B901B6DCE8}" destId="{D309DAB1-D711-4676-B0C9-9800CF1508A1}" srcOrd="1" destOrd="0" presId="urn:microsoft.com/office/officeart/2008/layout/LinedList"/>
    <dgm:cxn modelId="{2C78FD2D-37D7-4369-91FA-1F840741056F}" type="presParOf" srcId="{D309DAB1-D711-4676-B0C9-9800CF1508A1}" destId="{44949010-F43F-4273-BF25-436505F95A4B}" srcOrd="0" destOrd="0" presId="urn:microsoft.com/office/officeart/2008/layout/LinedList"/>
    <dgm:cxn modelId="{B99417BA-4126-4209-9BEC-18AAB49DC406}" type="presParOf" srcId="{D309DAB1-D711-4676-B0C9-9800CF1508A1}" destId="{75D8827E-E612-4E90-9865-159664BEB206}" srcOrd="1" destOrd="0" presId="urn:microsoft.com/office/officeart/2008/layout/LinedList"/>
    <dgm:cxn modelId="{E02007E7-E1DF-4274-8FE0-6FB3C3A66081}" type="presParOf" srcId="{75D8827E-E612-4E90-9865-159664BEB206}" destId="{4ADF22E8-3100-462E-BD11-86CD665F8D0C}" srcOrd="0" destOrd="0" presId="urn:microsoft.com/office/officeart/2008/layout/LinedList"/>
    <dgm:cxn modelId="{DA0B616F-AE33-46D9-87A4-66944C690BC5}" type="presParOf" srcId="{75D8827E-E612-4E90-9865-159664BEB206}" destId="{E89453A4-B185-47D3-849E-E9CABF201404}" srcOrd="1" destOrd="0" presId="urn:microsoft.com/office/officeart/2008/layout/LinedList"/>
    <dgm:cxn modelId="{F54ADEE6-4C35-4068-B457-06954853783E}" type="presParOf" srcId="{E89453A4-B185-47D3-849E-E9CABF201404}" destId="{464B60E8-6366-42D9-A004-6BC91C48E882}" srcOrd="0" destOrd="0" presId="urn:microsoft.com/office/officeart/2008/layout/LinedList"/>
    <dgm:cxn modelId="{6FF1E083-4F64-4626-A4A1-D1744CE7C88C}" type="presParOf" srcId="{E89453A4-B185-47D3-849E-E9CABF201404}" destId="{84131AAB-2705-453B-9466-179E67A33C0A}" srcOrd="1" destOrd="0" presId="urn:microsoft.com/office/officeart/2008/layout/LinedList"/>
    <dgm:cxn modelId="{15E72954-81A2-41BE-9622-44DB2C7E3C38}" type="presParOf" srcId="{E89453A4-B185-47D3-849E-E9CABF201404}" destId="{5AF543EF-8350-4780-A716-140E37046FB1}" srcOrd="2" destOrd="0" presId="urn:microsoft.com/office/officeart/2008/layout/LinedList"/>
    <dgm:cxn modelId="{8CFAE725-CB2D-458A-BE93-2C98F9523048}" type="presParOf" srcId="{75D8827E-E612-4E90-9865-159664BEB206}" destId="{81DB2667-891F-46F6-87CB-9D0638423E56}" srcOrd="2" destOrd="0" presId="urn:microsoft.com/office/officeart/2008/layout/LinedList"/>
    <dgm:cxn modelId="{2B16B153-A7AB-4CBE-A623-3431AB9DF3CA}" type="presParOf" srcId="{75D8827E-E612-4E90-9865-159664BEB206}" destId="{E0DB8A00-2A7A-4B90-AC2F-B1E0849E1DBE}" srcOrd="3" destOrd="0" presId="urn:microsoft.com/office/officeart/2008/layout/LinedList"/>
    <dgm:cxn modelId="{48B75B82-327E-4C6A-B2A3-5E0777A35954}" type="presParOf" srcId="{75D8827E-E612-4E90-9865-159664BEB206}" destId="{C53C17A6-55AC-4EAA-9EA1-D63E2AAA0025}" srcOrd="4" destOrd="0" presId="urn:microsoft.com/office/officeart/2008/layout/LinedList"/>
    <dgm:cxn modelId="{9D2F8B5F-B814-460B-BD60-72E82C5EDD87}" type="presParOf" srcId="{C53C17A6-55AC-4EAA-9EA1-D63E2AAA0025}" destId="{B4DE0A4A-DE8D-4CA4-A73D-F4986CE47A4E}" srcOrd="0" destOrd="0" presId="urn:microsoft.com/office/officeart/2008/layout/LinedList"/>
    <dgm:cxn modelId="{198CF2CA-7868-4B1A-9C79-7FC025D662C3}" type="presParOf" srcId="{C53C17A6-55AC-4EAA-9EA1-D63E2AAA0025}" destId="{5B07DF82-DC38-4B52-A931-DAA4389F017B}" srcOrd="1" destOrd="0" presId="urn:microsoft.com/office/officeart/2008/layout/LinedList"/>
    <dgm:cxn modelId="{6FC61405-67FA-4EB3-B020-C7F0F8C81DE1}" type="presParOf" srcId="{C53C17A6-55AC-4EAA-9EA1-D63E2AAA0025}" destId="{10DDAC69-CCBF-4A78-814D-67B72EC11F79}" srcOrd="2" destOrd="0" presId="urn:microsoft.com/office/officeart/2008/layout/LinedList"/>
    <dgm:cxn modelId="{C326CF11-ACBF-4EDD-A856-014AE45B9E42}" type="presParOf" srcId="{75D8827E-E612-4E90-9865-159664BEB206}" destId="{6B27170D-1061-408B-8B34-5CBCA78B88AB}" srcOrd="5" destOrd="0" presId="urn:microsoft.com/office/officeart/2008/layout/LinedList"/>
    <dgm:cxn modelId="{DB6FC8BB-5A6D-4145-9947-950247A607E6}" type="presParOf" srcId="{75D8827E-E612-4E90-9865-159664BEB206}" destId="{279E605E-E053-4D98-A68A-BD230BE9CCD2}" srcOrd="6" destOrd="0" presId="urn:microsoft.com/office/officeart/2008/layout/LinedList"/>
    <dgm:cxn modelId="{C4E52D8A-6813-4340-A671-D88E53EE6846}" type="presParOf" srcId="{75D8827E-E612-4E90-9865-159664BEB206}" destId="{65782B8B-C5CC-4EBB-9D1E-7859E80F1BB9}" srcOrd="7" destOrd="0" presId="urn:microsoft.com/office/officeart/2008/layout/LinedList"/>
    <dgm:cxn modelId="{70D3588F-EDF3-4446-BD82-07ADA34DB50F}" type="presParOf" srcId="{65782B8B-C5CC-4EBB-9D1E-7859E80F1BB9}" destId="{8690290D-EA1F-4D6D-9F3C-3D0AB3CD5A1F}" srcOrd="0" destOrd="0" presId="urn:microsoft.com/office/officeart/2008/layout/LinedList"/>
    <dgm:cxn modelId="{7388A15E-8058-4758-BB39-087AF4941A8A}" type="presParOf" srcId="{65782B8B-C5CC-4EBB-9D1E-7859E80F1BB9}" destId="{EBF3146E-A2AB-42BA-A1FD-33AF22DFB1C4}" srcOrd="1" destOrd="0" presId="urn:microsoft.com/office/officeart/2008/layout/LinedList"/>
    <dgm:cxn modelId="{A2307528-666B-47DC-86DC-C747CCC196CA}" type="presParOf" srcId="{65782B8B-C5CC-4EBB-9D1E-7859E80F1BB9}" destId="{1EA10885-9B8A-4B42-93B6-C1B58062C52F}" srcOrd="2" destOrd="0" presId="urn:microsoft.com/office/officeart/2008/layout/LinedList"/>
    <dgm:cxn modelId="{90E2B0D1-04EF-4084-ACA8-25641E7E91EC}" type="presParOf" srcId="{75D8827E-E612-4E90-9865-159664BEB206}" destId="{98DF41B8-5D6A-4631-BC1D-C5063401B9D3}" srcOrd="8" destOrd="0" presId="urn:microsoft.com/office/officeart/2008/layout/LinedList"/>
    <dgm:cxn modelId="{270E6A4C-3EC7-4E60-A06C-32052B2294A8}" type="presParOf" srcId="{75D8827E-E612-4E90-9865-159664BEB206}" destId="{780B34CE-08A1-48D1-9003-65629E08C00F}" srcOrd="9"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9F58AC-D7AB-471A-808B-F3A99CB3C8D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D7AC8FAB-3294-4324-933E-2423CC02566E}">
      <dgm:prSet phldrT="[Текст]"/>
      <dgm:spPr/>
      <dgm:t>
        <a:bodyPr/>
        <a:lstStyle/>
        <a:p>
          <a:r>
            <a:rPr lang="uk-UA" b="0" i="0" noProof="0" dirty="0">
              <a:solidFill>
                <a:schemeClr val="tx1"/>
              </a:solidFill>
            </a:rPr>
            <a:t>Особливий вид трудового договору, умовами якого не встановлено конкретний час виконання роботи, обов’язок працівника виконувати яку виникає виключно у разі надання роботодавцем передбаченої цим трудовим договором роботи без гарантування того, що така робота буде надаватися постійно, але з дотриманням умов оплати праці, передбачених цією статтею.</a:t>
          </a:r>
          <a:endParaRPr lang="uk-UA" noProof="0" dirty="0">
            <a:solidFill>
              <a:schemeClr val="tx1"/>
            </a:solidFill>
          </a:endParaRPr>
        </a:p>
      </dgm:t>
    </dgm:pt>
    <dgm:pt modelId="{BB736E74-7F06-4192-B0D9-39578F8894BF}" type="parTrans" cxnId="{4830A882-727A-4E06-A2F5-FDDDE78E75A4}">
      <dgm:prSet/>
      <dgm:spPr/>
      <dgm:t>
        <a:bodyPr/>
        <a:lstStyle/>
        <a:p>
          <a:endParaRPr lang="ru-UA"/>
        </a:p>
      </dgm:t>
    </dgm:pt>
    <dgm:pt modelId="{195AD650-B2B4-4932-ABE6-960940D9F5CD}" type="sibTrans" cxnId="{4830A882-727A-4E06-A2F5-FDDDE78E75A4}">
      <dgm:prSet/>
      <dgm:spPr/>
      <dgm:t>
        <a:bodyPr/>
        <a:lstStyle/>
        <a:p>
          <a:endParaRPr lang="ru-UA"/>
        </a:p>
      </dgm:t>
    </dgm:pt>
    <dgm:pt modelId="{51AB8A80-B466-4A4B-AF49-AB2039CC2D22}">
      <dgm:prSet phldrT="[Текст]" custT="1"/>
      <dgm:spPr/>
      <dgm:t>
        <a:bodyPr/>
        <a:lstStyle/>
        <a:p>
          <a:r>
            <a:rPr lang="uk-UA" sz="3600" b="0" i="0" noProof="0" dirty="0"/>
            <a:t>Роботодавець самостійно визначає необхідність та час залучення працівника до роботи, обсяг роботи та в передбачений трудовим договором строк погоджує з працівником режим роботи та тривалість робочого часу, необхідного для виконання відповідної роботи. При цьому повинні дотримуватися вимоги законодавства щодо тривалості робочого часу та часу відпочинку.</a:t>
          </a:r>
          <a:endParaRPr lang="uk-UA" sz="3600" noProof="0" dirty="0"/>
        </a:p>
      </dgm:t>
    </dgm:pt>
    <dgm:pt modelId="{279A3821-B545-40D7-8052-92FCFB5C5B29}" type="parTrans" cxnId="{B28F2F12-F401-4907-AEE8-D050FE846A0E}">
      <dgm:prSet/>
      <dgm:spPr/>
      <dgm:t>
        <a:bodyPr/>
        <a:lstStyle/>
        <a:p>
          <a:endParaRPr lang="ru-UA"/>
        </a:p>
      </dgm:t>
    </dgm:pt>
    <dgm:pt modelId="{743B1778-FDD0-40A0-861D-81322A9FF0D1}" type="sibTrans" cxnId="{B28F2F12-F401-4907-AEE8-D050FE846A0E}">
      <dgm:prSet/>
      <dgm:spPr/>
      <dgm:t>
        <a:bodyPr/>
        <a:lstStyle/>
        <a:p>
          <a:endParaRPr lang="ru-UA"/>
        </a:p>
      </dgm:t>
    </dgm:pt>
    <dgm:pt modelId="{F0560496-970F-440E-B0CF-07600DBBCF55}">
      <dgm:prSet phldrT="[Текст]"/>
      <dgm:spPr/>
      <dgm:t>
        <a:bodyPr/>
        <a:lstStyle/>
        <a:p>
          <a:r>
            <a:rPr lang="uk-UA" b="0" i="0" noProof="0" dirty="0">
              <a:solidFill>
                <a:schemeClr val="tx1"/>
              </a:solidFill>
            </a:rPr>
            <a:t>Кількість трудових договорів з нефіксованим робочим часом у одного роботодавця не може перевищувати 10 відсотків загальної кількості трудових договорів, стороною яких є цей роботодавець.</a:t>
          </a:r>
        </a:p>
        <a:p>
          <a:r>
            <a:rPr lang="uk-UA" b="0" i="0" noProof="0" dirty="0">
              <a:solidFill>
                <a:schemeClr val="tx1"/>
              </a:solidFill>
            </a:rPr>
            <a:t>Роботодавець (роботодавець - фізична особа), який використовує працю менше ніж 10 працівників, може укладати не більше одного трудового договору з нефіксованим робочим часом.</a:t>
          </a:r>
          <a:endParaRPr lang="uk-UA" noProof="0" dirty="0">
            <a:solidFill>
              <a:schemeClr val="tx1"/>
            </a:solidFill>
          </a:endParaRPr>
        </a:p>
      </dgm:t>
    </dgm:pt>
    <dgm:pt modelId="{40E7F99D-F716-474B-9B8C-EA8A8560B876}" type="parTrans" cxnId="{7B52600F-6E68-424E-A563-6FFC4F01E6DD}">
      <dgm:prSet/>
      <dgm:spPr/>
      <dgm:t>
        <a:bodyPr/>
        <a:lstStyle/>
        <a:p>
          <a:endParaRPr lang="ru-UA"/>
        </a:p>
      </dgm:t>
    </dgm:pt>
    <dgm:pt modelId="{1C227937-B4C4-4A41-B6E2-91FCA2C4C4E3}" type="sibTrans" cxnId="{7B52600F-6E68-424E-A563-6FFC4F01E6DD}">
      <dgm:prSet/>
      <dgm:spPr/>
      <dgm:t>
        <a:bodyPr/>
        <a:lstStyle/>
        <a:p>
          <a:endParaRPr lang="ru-UA"/>
        </a:p>
      </dgm:t>
    </dgm:pt>
    <dgm:pt modelId="{708156E7-5B70-41F8-BD58-32C9431F237F}" type="pres">
      <dgm:prSet presAssocID="{A49F58AC-D7AB-471A-808B-F3A99CB3C8DF}" presName="linear" presStyleCnt="0">
        <dgm:presLayoutVars>
          <dgm:animLvl val="lvl"/>
          <dgm:resizeHandles val="exact"/>
        </dgm:presLayoutVars>
      </dgm:prSet>
      <dgm:spPr/>
      <dgm:t>
        <a:bodyPr/>
        <a:lstStyle/>
        <a:p>
          <a:endParaRPr lang="en-US"/>
        </a:p>
      </dgm:t>
    </dgm:pt>
    <dgm:pt modelId="{7619D49F-DCC7-4EF5-8F1E-54348675A768}" type="pres">
      <dgm:prSet presAssocID="{D7AC8FAB-3294-4324-933E-2423CC02566E}" presName="parentText" presStyleLbl="node1" presStyleIdx="0" presStyleCnt="2">
        <dgm:presLayoutVars>
          <dgm:chMax val="0"/>
          <dgm:bulletEnabled val="1"/>
        </dgm:presLayoutVars>
      </dgm:prSet>
      <dgm:spPr/>
      <dgm:t>
        <a:bodyPr/>
        <a:lstStyle/>
        <a:p>
          <a:endParaRPr lang="en-US"/>
        </a:p>
      </dgm:t>
    </dgm:pt>
    <dgm:pt modelId="{F7E4E9D8-602E-4533-BE86-F95BA1BEB46F}" type="pres">
      <dgm:prSet presAssocID="{D7AC8FAB-3294-4324-933E-2423CC02566E}" presName="childText" presStyleLbl="revTx" presStyleIdx="0" presStyleCnt="1">
        <dgm:presLayoutVars>
          <dgm:bulletEnabled val="1"/>
        </dgm:presLayoutVars>
      </dgm:prSet>
      <dgm:spPr/>
      <dgm:t>
        <a:bodyPr/>
        <a:lstStyle/>
        <a:p>
          <a:endParaRPr lang="en-US"/>
        </a:p>
      </dgm:t>
    </dgm:pt>
    <dgm:pt modelId="{1526A55A-9608-4E26-AFDD-5310076E9C60}" type="pres">
      <dgm:prSet presAssocID="{F0560496-970F-440E-B0CF-07600DBBCF55}" presName="parentText" presStyleLbl="node1" presStyleIdx="1" presStyleCnt="2">
        <dgm:presLayoutVars>
          <dgm:chMax val="0"/>
          <dgm:bulletEnabled val="1"/>
        </dgm:presLayoutVars>
      </dgm:prSet>
      <dgm:spPr/>
      <dgm:t>
        <a:bodyPr/>
        <a:lstStyle/>
        <a:p>
          <a:endParaRPr lang="en-US"/>
        </a:p>
      </dgm:t>
    </dgm:pt>
  </dgm:ptLst>
  <dgm:cxnLst>
    <dgm:cxn modelId="{CBB1D100-B183-4031-811B-7CBAF73ADFF9}" type="presOf" srcId="{F0560496-970F-440E-B0CF-07600DBBCF55}" destId="{1526A55A-9608-4E26-AFDD-5310076E9C60}" srcOrd="0" destOrd="0" presId="urn:microsoft.com/office/officeart/2005/8/layout/vList2"/>
    <dgm:cxn modelId="{7B52600F-6E68-424E-A563-6FFC4F01E6DD}" srcId="{A49F58AC-D7AB-471A-808B-F3A99CB3C8DF}" destId="{F0560496-970F-440E-B0CF-07600DBBCF55}" srcOrd="1" destOrd="0" parTransId="{40E7F99D-F716-474B-9B8C-EA8A8560B876}" sibTransId="{1C227937-B4C4-4A41-B6E2-91FCA2C4C4E3}"/>
    <dgm:cxn modelId="{23B73964-B67B-4C2D-9E4C-AA1ACA40FAB8}" type="presOf" srcId="{D7AC8FAB-3294-4324-933E-2423CC02566E}" destId="{7619D49F-DCC7-4EF5-8F1E-54348675A768}" srcOrd="0" destOrd="0" presId="urn:microsoft.com/office/officeart/2005/8/layout/vList2"/>
    <dgm:cxn modelId="{8814ED75-1156-4376-8AB0-18D728A345AC}" type="presOf" srcId="{51AB8A80-B466-4A4B-AF49-AB2039CC2D22}" destId="{F7E4E9D8-602E-4533-BE86-F95BA1BEB46F}" srcOrd="0" destOrd="0" presId="urn:microsoft.com/office/officeart/2005/8/layout/vList2"/>
    <dgm:cxn modelId="{4830A882-727A-4E06-A2F5-FDDDE78E75A4}" srcId="{A49F58AC-D7AB-471A-808B-F3A99CB3C8DF}" destId="{D7AC8FAB-3294-4324-933E-2423CC02566E}" srcOrd="0" destOrd="0" parTransId="{BB736E74-7F06-4192-B0D9-39578F8894BF}" sibTransId="{195AD650-B2B4-4932-ABE6-960940D9F5CD}"/>
    <dgm:cxn modelId="{B28F2F12-F401-4907-AEE8-D050FE846A0E}" srcId="{D7AC8FAB-3294-4324-933E-2423CC02566E}" destId="{51AB8A80-B466-4A4B-AF49-AB2039CC2D22}" srcOrd="0" destOrd="0" parTransId="{279A3821-B545-40D7-8052-92FCFB5C5B29}" sibTransId="{743B1778-FDD0-40A0-861D-81322A9FF0D1}"/>
    <dgm:cxn modelId="{CDA6630B-C49A-47CF-8F23-44B45BDBAD37}" type="presOf" srcId="{A49F58AC-D7AB-471A-808B-F3A99CB3C8DF}" destId="{708156E7-5B70-41F8-BD58-32C9431F237F}" srcOrd="0" destOrd="0" presId="urn:microsoft.com/office/officeart/2005/8/layout/vList2"/>
    <dgm:cxn modelId="{81276345-3A6E-40E5-9960-0685C7F9EAB1}" type="presParOf" srcId="{708156E7-5B70-41F8-BD58-32C9431F237F}" destId="{7619D49F-DCC7-4EF5-8F1E-54348675A768}" srcOrd="0" destOrd="0" presId="urn:microsoft.com/office/officeart/2005/8/layout/vList2"/>
    <dgm:cxn modelId="{B27E0F9D-A4BC-4093-BB62-69725167A1C9}" type="presParOf" srcId="{708156E7-5B70-41F8-BD58-32C9431F237F}" destId="{F7E4E9D8-602E-4533-BE86-F95BA1BEB46F}" srcOrd="1" destOrd="0" presId="urn:microsoft.com/office/officeart/2005/8/layout/vList2"/>
    <dgm:cxn modelId="{16316D6C-79FE-4671-A734-849957E058CF}" type="presParOf" srcId="{708156E7-5B70-41F8-BD58-32C9431F237F}" destId="{1526A55A-9608-4E26-AFDD-5310076E9C60}"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A0C0224A-C1E9-4653-8FE2-9A8836151C0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80060EA9-3D16-45FE-98D4-BB4B85EE8530}">
      <dgm:prSet phldrT="[Текст]"/>
      <dgm:spPr/>
      <dgm:t>
        <a:bodyPr/>
        <a:lstStyle/>
        <a:p>
          <a:r>
            <a:rPr lang="uk-UA" b="0" i="0" noProof="0" dirty="0"/>
            <a:t>Простій - це зупинення роботи, викликане відсутністю організаційних або технічних умов, необхідних для виконання роботи, невідворотною силою або іншими обставинами. У разі простою працівники можуть бути переведені за їх згодою з урахуванням спеціальності і кваліфікації на іншу роботу на тому ж підприємстві, в установі, організації на весь час простою або на інше підприємство, в установу, організацію, але в тій самій місцевості на строк до одного місяця (ст. 34 КЗпП)</a:t>
          </a:r>
          <a:endParaRPr lang="uk-UA" noProof="0" dirty="0"/>
        </a:p>
      </dgm:t>
    </dgm:pt>
    <dgm:pt modelId="{A4B3BCED-B76F-4BB0-9A5D-664C1A81DD09}" type="parTrans" cxnId="{648D65C7-4557-4B50-B0C4-CA5F81D8C5D7}">
      <dgm:prSet/>
      <dgm:spPr/>
      <dgm:t>
        <a:bodyPr/>
        <a:lstStyle/>
        <a:p>
          <a:endParaRPr lang="ru-UA"/>
        </a:p>
      </dgm:t>
    </dgm:pt>
    <dgm:pt modelId="{CDBA8231-51EE-4AC1-BAD5-3D5F004BA37C}" type="sibTrans" cxnId="{648D65C7-4557-4B50-B0C4-CA5F81D8C5D7}">
      <dgm:prSet/>
      <dgm:spPr/>
      <dgm:t>
        <a:bodyPr/>
        <a:lstStyle/>
        <a:p>
          <a:endParaRPr lang="ru-UA"/>
        </a:p>
      </dgm:t>
    </dgm:pt>
    <dgm:pt modelId="{8443DCA0-70AA-4184-883F-2C4E982138DC}">
      <dgm:prSet phldrT="[Текст]" custT="1"/>
      <dgm:spPr/>
      <dgm:t>
        <a:bodyPr/>
        <a:lstStyle/>
        <a:p>
          <a:r>
            <a:rPr lang="uk-UA" sz="3200" b="0" i="0" noProof="0" dirty="0"/>
            <a:t>Час простою не з вини працівника оплачується з розрахунку не нижче від двох третин тарифної ставки встановленого працівникові розряду (окладу).</a:t>
          </a:r>
          <a:endParaRPr lang="uk-UA" sz="3200" noProof="0" dirty="0"/>
        </a:p>
      </dgm:t>
    </dgm:pt>
    <dgm:pt modelId="{8B05BDA8-D225-460A-98A8-0D989B0A9272}" type="parTrans" cxnId="{D8DA762D-C157-433A-B8D4-CFC1616BC3B1}">
      <dgm:prSet/>
      <dgm:spPr/>
      <dgm:t>
        <a:bodyPr/>
        <a:lstStyle/>
        <a:p>
          <a:endParaRPr lang="ru-UA"/>
        </a:p>
      </dgm:t>
    </dgm:pt>
    <dgm:pt modelId="{D6791F52-43E5-4A16-820C-2DD1818B38FE}" type="sibTrans" cxnId="{D8DA762D-C157-433A-B8D4-CFC1616BC3B1}">
      <dgm:prSet/>
      <dgm:spPr/>
      <dgm:t>
        <a:bodyPr/>
        <a:lstStyle/>
        <a:p>
          <a:endParaRPr lang="ru-UA"/>
        </a:p>
      </dgm:t>
    </dgm:pt>
    <dgm:pt modelId="{D58A9573-D2B2-480F-9ACD-DEF46C9A50CC}">
      <dgm:prSet phldrT="[Текст]"/>
      <dgm:spPr/>
      <dgm:t>
        <a:bodyPr/>
        <a:lstStyle/>
        <a:p>
          <a:r>
            <a:rPr lang="uk-UA" b="0" i="0" noProof="0" dirty="0"/>
            <a:t>Відповідачем не зазначено обставин, які б свідчили про відсутність організаційних або технічних умов, необхідних для виконання роботи позивачем, а також не наведено посилання на докази таких обставин, зокрема на такі, які б свідчили про об`єктивну неможливість здійснення роботи позивачем саме через введення воєнного стану</a:t>
          </a:r>
          <a:endParaRPr lang="uk-UA" noProof="0" dirty="0"/>
        </a:p>
      </dgm:t>
    </dgm:pt>
    <dgm:pt modelId="{D68A264C-465A-4C47-9C39-92463C872FC8}" type="parTrans" cxnId="{B4ABAF62-8B21-4EBD-BF0B-5700A1291B3D}">
      <dgm:prSet/>
      <dgm:spPr/>
      <dgm:t>
        <a:bodyPr/>
        <a:lstStyle/>
        <a:p>
          <a:endParaRPr lang="ru-UA"/>
        </a:p>
      </dgm:t>
    </dgm:pt>
    <dgm:pt modelId="{993F921A-96D9-43CA-AF83-E1E733EF2FE9}" type="sibTrans" cxnId="{B4ABAF62-8B21-4EBD-BF0B-5700A1291B3D}">
      <dgm:prSet/>
      <dgm:spPr/>
      <dgm:t>
        <a:bodyPr/>
        <a:lstStyle/>
        <a:p>
          <a:endParaRPr lang="ru-UA"/>
        </a:p>
      </dgm:t>
    </dgm:pt>
    <dgm:pt modelId="{61DE22FA-9E96-4AC8-B24C-FF2E5A38CDA4}">
      <dgm:prSet custT="1"/>
      <dgm:spPr/>
      <dgm:t>
        <a:bodyPr/>
        <a:lstStyle/>
        <a:p>
          <a:r>
            <a:rPr lang="uk-UA" sz="3200" b="0" i="0" noProof="0" dirty="0"/>
            <a:t>За час простою, коли виникла виробнича ситуація, небезпечна для життя чи здоров’я працівника або для людей, які його оточують, і навколишнього природного середовища не з його вини, </a:t>
          </a:r>
          <a:r>
            <a:rPr lang="uk-UA" sz="3200" b="1" i="0" noProof="0" dirty="0"/>
            <a:t>за ним зберігається середній заробіток </a:t>
          </a:r>
          <a:r>
            <a:rPr lang="uk-UA" sz="3200" b="0" i="0" noProof="0" dirty="0"/>
            <a:t>(ст. 113 КЗпП).</a:t>
          </a:r>
        </a:p>
      </dgm:t>
    </dgm:pt>
    <dgm:pt modelId="{6FAB6C8C-B166-44B7-B930-19793903F441}" type="parTrans" cxnId="{F0AA7D83-CBA1-4C7D-822B-E923141717DE}">
      <dgm:prSet/>
      <dgm:spPr/>
      <dgm:t>
        <a:bodyPr/>
        <a:lstStyle/>
        <a:p>
          <a:endParaRPr lang="ru-UA"/>
        </a:p>
      </dgm:t>
    </dgm:pt>
    <dgm:pt modelId="{59AD59E6-9289-498D-A2BB-3DAB17B029F3}" type="sibTrans" cxnId="{F0AA7D83-CBA1-4C7D-822B-E923141717DE}">
      <dgm:prSet/>
      <dgm:spPr/>
      <dgm:t>
        <a:bodyPr/>
        <a:lstStyle/>
        <a:p>
          <a:endParaRPr lang="ru-UA"/>
        </a:p>
      </dgm:t>
    </dgm:pt>
    <dgm:pt modelId="{8861803B-B188-4646-A940-4168F0577496}" type="pres">
      <dgm:prSet presAssocID="{A0C0224A-C1E9-4653-8FE2-9A8836151C02}" presName="linear" presStyleCnt="0">
        <dgm:presLayoutVars>
          <dgm:animLvl val="lvl"/>
          <dgm:resizeHandles val="exact"/>
        </dgm:presLayoutVars>
      </dgm:prSet>
      <dgm:spPr/>
      <dgm:t>
        <a:bodyPr/>
        <a:lstStyle/>
        <a:p>
          <a:endParaRPr lang="en-US"/>
        </a:p>
      </dgm:t>
    </dgm:pt>
    <dgm:pt modelId="{BA32CA74-C898-4810-8215-DDD291D3907C}" type="pres">
      <dgm:prSet presAssocID="{80060EA9-3D16-45FE-98D4-BB4B85EE8530}" presName="parentText" presStyleLbl="node1" presStyleIdx="0" presStyleCnt="2">
        <dgm:presLayoutVars>
          <dgm:chMax val="0"/>
          <dgm:bulletEnabled val="1"/>
        </dgm:presLayoutVars>
      </dgm:prSet>
      <dgm:spPr/>
      <dgm:t>
        <a:bodyPr/>
        <a:lstStyle/>
        <a:p>
          <a:endParaRPr lang="en-US"/>
        </a:p>
      </dgm:t>
    </dgm:pt>
    <dgm:pt modelId="{F2663DDB-AF79-4774-94A4-303448794070}" type="pres">
      <dgm:prSet presAssocID="{80060EA9-3D16-45FE-98D4-BB4B85EE8530}" presName="childText" presStyleLbl="revTx" presStyleIdx="0" presStyleCnt="1">
        <dgm:presLayoutVars>
          <dgm:bulletEnabled val="1"/>
        </dgm:presLayoutVars>
      </dgm:prSet>
      <dgm:spPr/>
      <dgm:t>
        <a:bodyPr/>
        <a:lstStyle/>
        <a:p>
          <a:endParaRPr lang="en-US"/>
        </a:p>
      </dgm:t>
    </dgm:pt>
    <dgm:pt modelId="{D69BF492-A030-4636-B7E7-C0086D7751C0}" type="pres">
      <dgm:prSet presAssocID="{D58A9573-D2B2-480F-9ACD-DEF46C9A50CC}" presName="parentText" presStyleLbl="node1" presStyleIdx="1" presStyleCnt="2">
        <dgm:presLayoutVars>
          <dgm:chMax val="0"/>
          <dgm:bulletEnabled val="1"/>
        </dgm:presLayoutVars>
      </dgm:prSet>
      <dgm:spPr/>
      <dgm:t>
        <a:bodyPr/>
        <a:lstStyle/>
        <a:p>
          <a:endParaRPr lang="en-US"/>
        </a:p>
      </dgm:t>
    </dgm:pt>
  </dgm:ptLst>
  <dgm:cxnLst>
    <dgm:cxn modelId="{A5E23FEF-1C03-4BD2-9287-7E8FD7893C5C}" type="presOf" srcId="{61DE22FA-9E96-4AC8-B24C-FF2E5A38CDA4}" destId="{F2663DDB-AF79-4774-94A4-303448794070}" srcOrd="0" destOrd="1" presId="urn:microsoft.com/office/officeart/2005/8/layout/vList2"/>
    <dgm:cxn modelId="{F0AA7D83-CBA1-4C7D-822B-E923141717DE}" srcId="{80060EA9-3D16-45FE-98D4-BB4B85EE8530}" destId="{61DE22FA-9E96-4AC8-B24C-FF2E5A38CDA4}" srcOrd="1" destOrd="0" parTransId="{6FAB6C8C-B166-44B7-B930-19793903F441}" sibTransId="{59AD59E6-9289-498D-A2BB-3DAB17B029F3}"/>
    <dgm:cxn modelId="{D8DA762D-C157-433A-B8D4-CFC1616BC3B1}" srcId="{80060EA9-3D16-45FE-98D4-BB4B85EE8530}" destId="{8443DCA0-70AA-4184-883F-2C4E982138DC}" srcOrd="0" destOrd="0" parTransId="{8B05BDA8-D225-460A-98A8-0D989B0A9272}" sibTransId="{D6791F52-43E5-4A16-820C-2DD1818B38FE}"/>
    <dgm:cxn modelId="{17BC3CDC-59C3-4886-A1FD-03672C8E201D}" type="presOf" srcId="{80060EA9-3D16-45FE-98D4-BB4B85EE8530}" destId="{BA32CA74-C898-4810-8215-DDD291D3907C}" srcOrd="0" destOrd="0" presId="urn:microsoft.com/office/officeart/2005/8/layout/vList2"/>
    <dgm:cxn modelId="{709EF28B-602E-4B80-97EB-BBAB7567F642}" type="presOf" srcId="{D58A9573-D2B2-480F-9ACD-DEF46C9A50CC}" destId="{D69BF492-A030-4636-B7E7-C0086D7751C0}" srcOrd="0" destOrd="0" presId="urn:microsoft.com/office/officeart/2005/8/layout/vList2"/>
    <dgm:cxn modelId="{8A5857A4-0C8D-41DE-A6B3-C0F1AE7A0429}" type="presOf" srcId="{8443DCA0-70AA-4184-883F-2C4E982138DC}" destId="{F2663DDB-AF79-4774-94A4-303448794070}" srcOrd="0" destOrd="0" presId="urn:microsoft.com/office/officeart/2005/8/layout/vList2"/>
    <dgm:cxn modelId="{B4ABAF62-8B21-4EBD-BF0B-5700A1291B3D}" srcId="{A0C0224A-C1E9-4653-8FE2-9A8836151C02}" destId="{D58A9573-D2B2-480F-9ACD-DEF46C9A50CC}" srcOrd="1" destOrd="0" parTransId="{D68A264C-465A-4C47-9C39-92463C872FC8}" sibTransId="{993F921A-96D9-43CA-AF83-E1E733EF2FE9}"/>
    <dgm:cxn modelId="{1CEA8E63-08F9-410C-B9D5-11785AA619AF}" type="presOf" srcId="{A0C0224A-C1E9-4653-8FE2-9A8836151C02}" destId="{8861803B-B188-4646-A940-4168F0577496}" srcOrd="0" destOrd="0" presId="urn:microsoft.com/office/officeart/2005/8/layout/vList2"/>
    <dgm:cxn modelId="{648D65C7-4557-4B50-B0C4-CA5F81D8C5D7}" srcId="{A0C0224A-C1E9-4653-8FE2-9A8836151C02}" destId="{80060EA9-3D16-45FE-98D4-BB4B85EE8530}" srcOrd="0" destOrd="0" parTransId="{A4B3BCED-B76F-4BB0-9A5D-664C1A81DD09}" sibTransId="{CDBA8231-51EE-4AC1-BAD5-3D5F004BA37C}"/>
    <dgm:cxn modelId="{9AC7C7A2-CEC6-4484-ACDB-26866C05C99A}" type="presParOf" srcId="{8861803B-B188-4646-A940-4168F0577496}" destId="{BA32CA74-C898-4810-8215-DDD291D3907C}" srcOrd="0" destOrd="0" presId="urn:microsoft.com/office/officeart/2005/8/layout/vList2"/>
    <dgm:cxn modelId="{96F5E15F-86A9-44AF-A481-ADBA9194EA64}" type="presParOf" srcId="{8861803B-B188-4646-A940-4168F0577496}" destId="{F2663DDB-AF79-4774-94A4-303448794070}" srcOrd="1" destOrd="0" presId="urn:microsoft.com/office/officeart/2005/8/layout/vList2"/>
    <dgm:cxn modelId="{5F16C589-B235-46E1-B3BB-3AA779B4B456}" type="presParOf" srcId="{8861803B-B188-4646-A940-4168F0577496}" destId="{D69BF492-A030-4636-B7E7-C0086D7751C0}"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445C263F-915C-4719-B803-201518D9C584}"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ru-UA"/>
        </a:p>
      </dgm:t>
    </dgm:pt>
    <dgm:pt modelId="{9D6F1614-B7E3-4166-A033-BEE74A3ECDA3}">
      <dgm:prSet phldrT="[Текст]"/>
      <dgm:spPr/>
      <dgm:t>
        <a:bodyPr/>
        <a:lstStyle/>
        <a:p>
          <a:r>
            <a:rPr lang="uk-UA" noProof="0" dirty="0"/>
            <a:t>Позов задовільнити</a:t>
          </a:r>
        </a:p>
      </dgm:t>
    </dgm:pt>
    <dgm:pt modelId="{6AD0B29E-C478-46D5-9AB2-A64CC432B625}" type="parTrans" cxnId="{BC53F2DB-333E-451C-895A-67BCAD89A7A1}">
      <dgm:prSet/>
      <dgm:spPr/>
      <dgm:t>
        <a:bodyPr/>
        <a:lstStyle/>
        <a:p>
          <a:endParaRPr lang="ru-UA"/>
        </a:p>
      </dgm:t>
    </dgm:pt>
    <dgm:pt modelId="{A1F976C2-2487-4E6C-9935-B5ECB5A13F21}" type="sibTrans" cxnId="{BC53F2DB-333E-451C-895A-67BCAD89A7A1}">
      <dgm:prSet/>
      <dgm:spPr/>
      <dgm:t>
        <a:bodyPr/>
        <a:lstStyle/>
        <a:p>
          <a:endParaRPr lang="ru-UA"/>
        </a:p>
      </dgm:t>
    </dgm:pt>
    <dgm:pt modelId="{8BABB2F8-98E2-4ACC-9D1D-10F5F71E62E6}">
      <dgm:prSet phldrT="[Текст]"/>
      <dgm:spPr/>
      <dgm:t>
        <a:bodyPr/>
        <a:lstStyle/>
        <a:p>
          <a:r>
            <a:rPr lang="uk-UA" noProof="0" dirty="0"/>
            <a:t>Накази визнати незаконними та скасувати</a:t>
          </a:r>
        </a:p>
      </dgm:t>
    </dgm:pt>
    <dgm:pt modelId="{8D1B00A2-6B9B-4228-9158-5E75DC7E5104}" type="parTrans" cxnId="{F9882824-E1A0-45EC-811F-60C666860864}">
      <dgm:prSet/>
      <dgm:spPr/>
      <dgm:t>
        <a:bodyPr/>
        <a:lstStyle/>
        <a:p>
          <a:endParaRPr lang="ru-UA"/>
        </a:p>
      </dgm:t>
    </dgm:pt>
    <dgm:pt modelId="{F27F2714-A4AA-42F7-811B-2A97A6154F9E}" type="sibTrans" cxnId="{F9882824-E1A0-45EC-811F-60C666860864}">
      <dgm:prSet/>
      <dgm:spPr/>
      <dgm:t>
        <a:bodyPr/>
        <a:lstStyle/>
        <a:p>
          <a:endParaRPr lang="ru-UA"/>
        </a:p>
      </dgm:t>
    </dgm:pt>
    <dgm:pt modelId="{E3616FAA-AB89-4F11-BCD3-A2EBA1C49C4D}">
      <dgm:prSet phldrT="[Текст]"/>
      <dgm:spPr/>
      <dgm:t>
        <a:bodyPr/>
        <a:lstStyle/>
        <a:p>
          <a:r>
            <a:rPr lang="uk-UA" b="0" i="0" noProof="0" dirty="0"/>
            <a:t>Стягнути різницю у заробітній платі за час простою в сумі 16 956 без врахування відповідних податків та інших обов`язкових платежів, а також судові витрати зі сплати судового збору розміром 1 984, 8 грн.</a:t>
          </a:r>
          <a:endParaRPr lang="uk-UA" noProof="0" dirty="0"/>
        </a:p>
      </dgm:t>
    </dgm:pt>
    <dgm:pt modelId="{FAAA019C-1B93-46CF-9909-76CA908673A7}" type="parTrans" cxnId="{D81EA505-F4F2-4BBC-B20A-DDA5AA7B7C3D}">
      <dgm:prSet/>
      <dgm:spPr/>
      <dgm:t>
        <a:bodyPr/>
        <a:lstStyle/>
        <a:p>
          <a:endParaRPr lang="ru-UA"/>
        </a:p>
      </dgm:t>
    </dgm:pt>
    <dgm:pt modelId="{AAB13192-AB8C-4DD1-9182-205E5758A8CF}" type="sibTrans" cxnId="{D81EA505-F4F2-4BBC-B20A-DDA5AA7B7C3D}">
      <dgm:prSet/>
      <dgm:spPr/>
      <dgm:t>
        <a:bodyPr/>
        <a:lstStyle/>
        <a:p>
          <a:endParaRPr lang="ru-UA"/>
        </a:p>
      </dgm:t>
    </dgm:pt>
    <dgm:pt modelId="{2AE84C96-F1CC-47F6-8A80-263DF5C071D6}" type="pres">
      <dgm:prSet presAssocID="{445C263F-915C-4719-B803-201518D9C584}" presName="rootnode" presStyleCnt="0">
        <dgm:presLayoutVars>
          <dgm:chMax/>
          <dgm:chPref/>
          <dgm:dir/>
          <dgm:animLvl val="lvl"/>
        </dgm:presLayoutVars>
      </dgm:prSet>
      <dgm:spPr/>
      <dgm:t>
        <a:bodyPr/>
        <a:lstStyle/>
        <a:p>
          <a:endParaRPr lang="en-US"/>
        </a:p>
      </dgm:t>
    </dgm:pt>
    <dgm:pt modelId="{027F436E-F60E-4FEB-A238-9BBAAAA1871E}" type="pres">
      <dgm:prSet presAssocID="{9D6F1614-B7E3-4166-A033-BEE74A3ECDA3}" presName="composite" presStyleCnt="0"/>
      <dgm:spPr/>
    </dgm:pt>
    <dgm:pt modelId="{6E862C84-9419-4108-8F83-43E4E180EB19}" type="pres">
      <dgm:prSet presAssocID="{9D6F1614-B7E3-4166-A033-BEE74A3ECDA3}" presName="LShape" presStyleLbl="alignNode1" presStyleIdx="0" presStyleCnt="5"/>
      <dgm:spPr/>
    </dgm:pt>
    <dgm:pt modelId="{00E99759-AF57-4683-B740-A753C1B8EA17}" type="pres">
      <dgm:prSet presAssocID="{9D6F1614-B7E3-4166-A033-BEE74A3ECDA3}" presName="ParentText" presStyleLbl="revTx" presStyleIdx="0" presStyleCnt="3">
        <dgm:presLayoutVars>
          <dgm:chMax val="0"/>
          <dgm:chPref val="0"/>
          <dgm:bulletEnabled val="1"/>
        </dgm:presLayoutVars>
      </dgm:prSet>
      <dgm:spPr/>
      <dgm:t>
        <a:bodyPr/>
        <a:lstStyle/>
        <a:p>
          <a:endParaRPr lang="en-US"/>
        </a:p>
      </dgm:t>
    </dgm:pt>
    <dgm:pt modelId="{E9CE0A68-4216-411A-8682-F52AB3C1EAE8}" type="pres">
      <dgm:prSet presAssocID="{9D6F1614-B7E3-4166-A033-BEE74A3ECDA3}" presName="Triangle" presStyleLbl="alignNode1" presStyleIdx="1" presStyleCnt="5"/>
      <dgm:spPr/>
    </dgm:pt>
    <dgm:pt modelId="{2F646412-A005-48B4-BB1C-6E1F27FC1DE7}" type="pres">
      <dgm:prSet presAssocID="{A1F976C2-2487-4E6C-9935-B5ECB5A13F21}" presName="sibTrans" presStyleCnt="0"/>
      <dgm:spPr/>
    </dgm:pt>
    <dgm:pt modelId="{0C6DB537-9394-4B61-8EEA-34680049D2BB}" type="pres">
      <dgm:prSet presAssocID="{A1F976C2-2487-4E6C-9935-B5ECB5A13F21}" presName="space" presStyleCnt="0"/>
      <dgm:spPr/>
    </dgm:pt>
    <dgm:pt modelId="{46E55470-5DD2-41F1-B250-397B2F1B7784}" type="pres">
      <dgm:prSet presAssocID="{8BABB2F8-98E2-4ACC-9D1D-10F5F71E62E6}" presName="composite" presStyleCnt="0"/>
      <dgm:spPr/>
    </dgm:pt>
    <dgm:pt modelId="{967BAE08-DB3B-416B-87C1-759C1343CD35}" type="pres">
      <dgm:prSet presAssocID="{8BABB2F8-98E2-4ACC-9D1D-10F5F71E62E6}" presName="LShape" presStyleLbl="alignNode1" presStyleIdx="2" presStyleCnt="5"/>
      <dgm:spPr/>
    </dgm:pt>
    <dgm:pt modelId="{E5FDA3A7-D86E-40E7-8FEE-62AA3C776CC0}" type="pres">
      <dgm:prSet presAssocID="{8BABB2F8-98E2-4ACC-9D1D-10F5F71E62E6}" presName="ParentText" presStyleLbl="revTx" presStyleIdx="1" presStyleCnt="3">
        <dgm:presLayoutVars>
          <dgm:chMax val="0"/>
          <dgm:chPref val="0"/>
          <dgm:bulletEnabled val="1"/>
        </dgm:presLayoutVars>
      </dgm:prSet>
      <dgm:spPr/>
      <dgm:t>
        <a:bodyPr/>
        <a:lstStyle/>
        <a:p>
          <a:endParaRPr lang="en-US"/>
        </a:p>
      </dgm:t>
    </dgm:pt>
    <dgm:pt modelId="{2989465F-E1D8-4038-8309-7CFFB4DEE4B0}" type="pres">
      <dgm:prSet presAssocID="{8BABB2F8-98E2-4ACC-9D1D-10F5F71E62E6}" presName="Triangle" presStyleLbl="alignNode1" presStyleIdx="3" presStyleCnt="5"/>
      <dgm:spPr/>
    </dgm:pt>
    <dgm:pt modelId="{A2E614DD-63B1-45FB-8CF9-272618DDEB97}" type="pres">
      <dgm:prSet presAssocID="{F27F2714-A4AA-42F7-811B-2A97A6154F9E}" presName="sibTrans" presStyleCnt="0"/>
      <dgm:spPr/>
    </dgm:pt>
    <dgm:pt modelId="{71D8C255-E037-4C70-9F2A-8A793E2156B6}" type="pres">
      <dgm:prSet presAssocID="{F27F2714-A4AA-42F7-811B-2A97A6154F9E}" presName="space" presStyleCnt="0"/>
      <dgm:spPr/>
    </dgm:pt>
    <dgm:pt modelId="{FC89FCCC-7430-4577-BAD2-A15F9DC34AF1}" type="pres">
      <dgm:prSet presAssocID="{E3616FAA-AB89-4F11-BCD3-A2EBA1C49C4D}" presName="composite" presStyleCnt="0"/>
      <dgm:spPr/>
    </dgm:pt>
    <dgm:pt modelId="{1B42972E-E5EC-4955-AE36-4D7FEC72FF04}" type="pres">
      <dgm:prSet presAssocID="{E3616FAA-AB89-4F11-BCD3-A2EBA1C49C4D}" presName="LShape" presStyleLbl="alignNode1" presStyleIdx="4" presStyleCnt="5"/>
      <dgm:spPr/>
    </dgm:pt>
    <dgm:pt modelId="{0973F882-23B3-4E1E-A884-51636CA914EA}" type="pres">
      <dgm:prSet presAssocID="{E3616FAA-AB89-4F11-BCD3-A2EBA1C49C4D}" presName="ParentText" presStyleLbl="revTx" presStyleIdx="2" presStyleCnt="3">
        <dgm:presLayoutVars>
          <dgm:chMax val="0"/>
          <dgm:chPref val="0"/>
          <dgm:bulletEnabled val="1"/>
        </dgm:presLayoutVars>
      </dgm:prSet>
      <dgm:spPr/>
      <dgm:t>
        <a:bodyPr/>
        <a:lstStyle/>
        <a:p>
          <a:endParaRPr lang="en-US"/>
        </a:p>
      </dgm:t>
    </dgm:pt>
  </dgm:ptLst>
  <dgm:cxnLst>
    <dgm:cxn modelId="{D81EA505-F4F2-4BBC-B20A-DDA5AA7B7C3D}" srcId="{445C263F-915C-4719-B803-201518D9C584}" destId="{E3616FAA-AB89-4F11-BCD3-A2EBA1C49C4D}" srcOrd="2" destOrd="0" parTransId="{FAAA019C-1B93-46CF-9909-76CA908673A7}" sibTransId="{AAB13192-AB8C-4DD1-9182-205E5758A8CF}"/>
    <dgm:cxn modelId="{F9882824-E1A0-45EC-811F-60C666860864}" srcId="{445C263F-915C-4719-B803-201518D9C584}" destId="{8BABB2F8-98E2-4ACC-9D1D-10F5F71E62E6}" srcOrd="1" destOrd="0" parTransId="{8D1B00A2-6B9B-4228-9158-5E75DC7E5104}" sibTransId="{F27F2714-A4AA-42F7-811B-2A97A6154F9E}"/>
    <dgm:cxn modelId="{B1410066-45E4-40EE-BF42-48BB0DEC7201}" type="presOf" srcId="{445C263F-915C-4719-B803-201518D9C584}" destId="{2AE84C96-F1CC-47F6-8A80-263DF5C071D6}" srcOrd="0" destOrd="0" presId="urn:microsoft.com/office/officeart/2009/3/layout/StepUpProcess"/>
    <dgm:cxn modelId="{BC53F2DB-333E-451C-895A-67BCAD89A7A1}" srcId="{445C263F-915C-4719-B803-201518D9C584}" destId="{9D6F1614-B7E3-4166-A033-BEE74A3ECDA3}" srcOrd="0" destOrd="0" parTransId="{6AD0B29E-C478-46D5-9AB2-A64CC432B625}" sibTransId="{A1F976C2-2487-4E6C-9935-B5ECB5A13F21}"/>
    <dgm:cxn modelId="{B6A0A409-119A-4579-BA73-E0A1E4A395A9}" type="presOf" srcId="{E3616FAA-AB89-4F11-BCD3-A2EBA1C49C4D}" destId="{0973F882-23B3-4E1E-A884-51636CA914EA}" srcOrd="0" destOrd="0" presId="urn:microsoft.com/office/officeart/2009/3/layout/StepUpProcess"/>
    <dgm:cxn modelId="{528167AA-3AEA-4184-BE78-AE725BF4F99D}" type="presOf" srcId="{8BABB2F8-98E2-4ACC-9D1D-10F5F71E62E6}" destId="{E5FDA3A7-D86E-40E7-8FEE-62AA3C776CC0}" srcOrd="0" destOrd="0" presId="urn:microsoft.com/office/officeart/2009/3/layout/StepUpProcess"/>
    <dgm:cxn modelId="{65464339-8605-44B0-8320-7026246C83F2}" type="presOf" srcId="{9D6F1614-B7E3-4166-A033-BEE74A3ECDA3}" destId="{00E99759-AF57-4683-B740-A753C1B8EA17}" srcOrd="0" destOrd="0" presId="urn:microsoft.com/office/officeart/2009/3/layout/StepUpProcess"/>
    <dgm:cxn modelId="{F1AD7A59-3B96-4B37-B208-E87FA061C43A}" type="presParOf" srcId="{2AE84C96-F1CC-47F6-8A80-263DF5C071D6}" destId="{027F436E-F60E-4FEB-A238-9BBAAAA1871E}" srcOrd="0" destOrd="0" presId="urn:microsoft.com/office/officeart/2009/3/layout/StepUpProcess"/>
    <dgm:cxn modelId="{96407EF1-6486-4FBA-B577-9DC6E014B637}" type="presParOf" srcId="{027F436E-F60E-4FEB-A238-9BBAAAA1871E}" destId="{6E862C84-9419-4108-8F83-43E4E180EB19}" srcOrd="0" destOrd="0" presId="urn:microsoft.com/office/officeart/2009/3/layout/StepUpProcess"/>
    <dgm:cxn modelId="{B9C760C7-6ED4-48C7-A6C4-7A09F1979210}" type="presParOf" srcId="{027F436E-F60E-4FEB-A238-9BBAAAA1871E}" destId="{00E99759-AF57-4683-B740-A753C1B8EA17}" srcOrd="1" destOrd="0" presId="urn:microsoft.com/office/officeart/2009/3/layout/StepUpProcess"/>
    <dgm:cxn modelId="{5166846C-3CD9-4F96-994D-F12A3AB6C984}" type="presParOf" srcId="{027F436E-F60E-4FEB-A238-9BBAAAA1871E}" destId="{E9CE0A68-4216-411A-8682-F52AB3C1EAE8}" srcOrd="2" destOrd="0" presId="urn:microsoft.com/office/officeart/2009/3/layout/StepUpProcess"/>
    <dgm:cxn modelId="{3C61B684-30C8-4498-994E-7B391F16F630}" type="presParOf" srcId="{2AE84C96-F1CC-47F6-8A80-263DF5C071D6}" destId="{2F646412-A005-48B4-BB1C-6E1F27FC1DE7}" srcOrd="1" destOrd="0" presId="urn:microsoft.com/office/officeart/2009/3/layout/StepUpProcess"/>
    <dgm:cxn modelId="{3FEEF3F8-3D11-43B1-8EC5-320E008585B1}" type="presParOf" srcId="{2F646412-A005-48B4-BB1C-6E1F27FC1DE7}" destId="{0C6DB537-9394-4B61-8EEA-34680049D2BB}" srcOrd="0" destOrd="0" presId="urn:microsoft.com/office/officeart/2009/3/layout/StepUpProcess"/>
    <dgm:cxn modelId="{4B3C0B58-3C74-4F70-96FC-1841AF62EB38}" type="presParOf" srcId="{2AE84C96-F1CC-47F6-8A80-263DF5C071D6}" destId="{46E55470-5DD2-41F1-B250-397B2F1B7784}" srcOrd="2" destOrd="0" presId="urn:microsoft.com/office/officeart/2009/3/layout/StepUpProcess"/>
    <dgm:cxn modelId="{D1E85F5D-1446-41C1-8BF2-192BD2DFD70D}" type="presParOf" srcId="{46E55470-5DD2-41F1-B250-397B2F1B7784}" destId="{967BAE08-DB3B-416B-87C1-759C1343CD35}" srcOrd="0" destOrd="0" presId="urn:microsoft.com/office/officeart/2009/3/layout/StepUpProcess"/>
    <dgm:cxn modelId="{6E4DD6E4-3B5E-497F-A471-1E469DEDFA03}" type="presParOf" srcId="{46E55470-5DD2-41F1-B250-397B2F1B7784}" destId="{E5FDA3A7-D86E-40E7-8FEE-62AA3C776CC0}" srcOrd="1" destOrd="0" presId="urn:microsoft.com/office/officeart/2009/3/layout/StepUpProcess"/>
    <dgm:cxn modelId="{3E89D84D-33FF-494E-B6CB-E3FBEC5D7550}" type="presParOf" srcId="{46E55470-5DD2-41F1-B250-397B2F1B7784}" destId="{2989465F-E1D8-4038-8309-7CFFB4DEE4B0}" srcOrd="2" destOrd="0" presId="urn:microsoft.com/office/officeart/2009/3/layout/StepUpProcess"/>
    <dgm:cxn modelId="{EA67DCE6-9474-4C46-B7BF-71640D5471D7}" type="presParOf" srcId="{2AE84C96-F1CC-47F6-8A80-263DF5C071D6}" destId="{A2E614DD-63B1-45FB-8CF9-272618DDEB97}" srcOrd="3" destOrd="0" presId="urn:microsoft.com/office/officeart/2009/3/layout/StepUpProcess"/>
    <dgm:cxn modelId="{95E995AE-0AF7-46B4-8791-BBDA2817D41F}" type="presParOf" srcId="{A2E614DD-63B1-45FB-8CF9-272618DDEB97}" destId="{71D8C255-E037-4C70-9F2A-8A793E2156B6}" srcOrd="0" destOrd="0" presId="urn:microsoft.com/office/officeart/2009/3/layout/StepUpProcess"/>
    <dgm:cxn modelId="{602CD899-18F8-444D-BE07-70CE47D52E30}" type="presParOf" srcId="{2AE84C96-F1CC-47F6-8A80-263DF5C071D6}" destId="{FC89FCCC-7430-4577-BAD2-A15F9DC34AF1}" srcOrd="4" destOrd="0" presId="urn:microsoft.com/office/officeart/2009/3/layout/StepUpProcess"/>
    <dgm:cxn modelId="{5CD0F34D-F1A6-41CB-AC16-69F59D9F6BBF}" type="presParOf" srcId="{FC89FCCC-7430-4577-BAD2-A15F9DC34AF1}" destId="{1B42972E-E5EC-4955-AE36-4D7FEC72FF04}" srcOrd="0" destOrd="0" presId="urn:microsoft.com/office/officeart/2009/3/layout/StepUpProcess"/>
    <dgm:cxn modelId="{03618D45-E481-43BB-BB89-B07B38D91662}" type="presParOf" srcId="{FC89FCCC-7430-4577-BAD2-A15F9DC34AF1}" destId="{0973F882-23B3-4E1E-A884-51636CA914EA}"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50A5FF14-6E91-44FA-A51B-1C31DF6FC79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AA7F129A-39F8-4E37-A51A-8A89915D0C69}">
      <dgm:prSet phldrT="[Текст]"/>
      <dgm:spPr>
        <a:solidFill>
          <a:schemeClr val="accent2">
            <a:lumMod val="20000"/>
            <a:lumOff val="80000"/>
          </a:schemeClr>
        </a:solidFill>
      </dgm:spPr>
      <dgm:t>
        <a:bodyPr vert="vert270"/>
        <a:lstStyle/>
        <a:p>
          <a:pPr algn="ctr"/>
          <a:r>
            <a:rPr lang="uk-UA" dirty="0"/>
            <a:t>Справа про відпустку без ЗП (центр фізичного здоров’я) </a:t>
          </a:r>
        </a:p>
        <a:p>
          <a:pPr algn="ctr"/>
          <a:r>
            <a:rPr lang="ru-RU" b="0" i="0" dirty="0"/>
            <a:t>Справа № </a:t>
          </a:r>
          <a:r>
            <a:rPr lang="ru-UA" b="0" i="0" dirty="0"/>
            <a:t>473/929/22</a:t>
          </a:r>
          <a:endParaRPr lang="ru-UA" dirty="0"/>
        </a:p>
      </dgm:t>
    </dgm:pt>
    <dgm:pt modelId="{63BF66A6-09F3-4527-88E3-6381FFBE5AD5}" type="parTrans" cxnId="{E76A9518-2FAE-46BA-9C12-6E06DACB0B5D}">
      <dgm:prSet/>
      <dgm:spPr/>
      <dgm:t>
        <a:bodyPr/>
        <a:lstStyle/>
        <a:p>
          <a:endParaRPr lang="ru-UA"/>
        </a:p>
      </dgm:t>
    </dgm:pt>
    <dgm:pt modelId="{BA214040-64A2-4A16-B651-4D733AFFE4C6}" type="sibTrans" cxnId="{E76A9518-2FAE-46BA-9C12-6E06DACB0B5D}">
      <dgm:prSet/>
      <dgm:spPr/>
      <dgm:t>
        <a:bodyPr/>
        <a:lstStyle/>
        <a:p>
          <a:endParaRPr lang="ru-UA"/>
        </a:p>
      </dgm:t>
    </dgm:pt>
    <dgm:pt modelId="{8DAEB9DC-3CB1-4F23-B2DB-CA985410F4C2}">
      <dgm:prSet phldrT="[Текст]"/>
      <dgm:spPr/>
      <dgm:t>
        <a:bodyPr/>
        <a:lstStyle/>
        <a:p>
          <a:r>
            <a:rPr lang="uk-UA" dirty="0"/>
            <a:t>Комплекс зачинено через активні бойові дії. Доступу до закладу немає у працівників навіть з метою забрати особисті речі. </a:t>
          </a:r>
          <a:endParaRPr lang="ru-UA" dirty="0"/>
        </a:p>
      </dgm:t>
    </dgm:pt>
    <dgm:pt modelId="{94297B8E-4E83-4E2C-881D-C820F5DD3E9A}" type="parTrans" cxnId="{CDA2D0D8-F605-4EA0-B12C-74EB4870C248}">
      <dgm:prSet/>
      <dgm:spPr/>
      <dgm:t>
        <a:bodyPr/>
        <a:lstStyle/>
        <a:p>
          <a:endParaRPr lang="ru-UA"/>
        </a:p>
      </dgm:t>
    </dgm:pt>
    <dgm:pt modelId="{E61B12C0-DD26-4203-838C-DC3BBEAF4A3F}" type="sibTrans" cxnId="{CDA2D0D8-F605-4EA0-B12C-74EB4870C248}">
      <dgm:prSet/>
      <dgm:spPr/>
      <dgm:t>
        <a:bodyPr/>
        <a:lstStyle/>
        <a:p>
          <a:endParaRPr lang="ru-UA"/>
        </a:p>
      </dgm:t>
    </dgm:pt>
    <dgm:pt modelId="{B2A23F94-A4EC-4C97-BB35-F92B83B780A0}">
      <dgm:prSet phldrT="[Текст]"/>
      <dgm:spPr/>
      <dgm:t>
        <a:bodyPr/>
        <a:lstStyle/>
        <a:p>
          <a:r>
            <a:rPr lang="uk-UA" dirty="0"/>
            <a:t>Рішення про зміну режиму роботи закладу не приймалось.</a:t>
          </a:r>
        </a:p>
        <a:p>
          <a:r>
            <a:rPr lang="uk-UA" dirty="0"/>
            <a:t>Керівництво видало наказ про відпустки працівників без збереження ЗП до завершення воєнного стану.</a:t>
          </a:r>
          <a:endParaRPr lang="ru-UA" dirty="0"/>
        </a:p>
      </dgm:t>
    </dgm:pt>
    <dgm:pt modelId="{8F6F6E59-92AB-479B-BB5F-0F775359712A}" type="parTrans" cxnId="{D479ABDE-EDBA-46B3-99F9-DF21A141CAF5}">
      <dgm:prSet/>
      <dgm:spPr/>
      <dgm:t>
        <a:bodyPr/>
        <a:lstStyle/>
        <a:p>
          <a:endParaRPr lang="ru-UA"/>
        </a:p>
      </dgm:t>
    </dgm:pt>
    <dgm:pt modelId="{41A893FE-0153-48B5-A0B0-D09CE5430403}" type="sibTrans" cxnId="{D479ABDE-EDBA-46B3-99F9-DF21A141CAF5}">
      <dgm:prSet/>
      <dgm:spPr/>
      <dgm:t>
        <a:bodyPr/>
        <a:lstStyle/>
        <a:p>
          <a:endParaRPr lang="ru-UA"/>
        </a:p>
      </dgm:t>
    </dgm:pt>
    <dgm:pt modelId="{27F56B54-934B-4E3A-8445-FA26BB3CE89C}">
      <dgm:prSet phldrT="[Текст]"/>
      <dgm:spPr/>
      <dgm:t>
        <a:bodyPr/>
        <a:lstStyle/>
        <a:p>
          <a:r>
            <a:rPr lang="uk-UA" b="0" i="0" noProof="0" dirty="0"/>
            <a:t>Заяву про відпустки працівники не писали. Намагались потрапити на роботу. Мають бажання працювати.</a:t>
          </a:r>
          <a:endParaRPr lang="uk-UA" noProof="0" dirty="0"/>
        </a:p>
      </dgm:t>
    </dgm:pt>
    <dgm:pt modelId="{A57B0342-F409-4F18-9C32-BE569B2CEBC4}" type="parTrans" cxnId="{B35C8C81-F4A0-437D-A283-88248B7F72CC}">
      <dgm:prSet/>
      <dgm:spPr/>
      <dgm:t>
        <a:bodyPr/>
        <a:lstStyle/>
        <a:p>
          <a:endParaRPr lang="ru-UA"/>
        </a:p>
      </dgm:t>
    </dgm:pt>
    <dgm:pt modelId="{82F004CF-4B6A-4BA8-900D-93B379CE2B17}" type="sibTrans" cxnId="{B35C8C81-F4A0-437D-A283-88248B7F72CC}">
      <dgm:prSet/>
      <dgm:spPr/>
      <dgm:t>
        <a:bodyPr/>
        <a:lstStyle/>
        <a:p>
          <a:endParaRPr lang="ru-UA"/>
        </a:p>
      </dgm:t>
    </dgm:pt>
    <dgm:pt modelId="{DC1747FD-EA5B-459F-BCA8-A4B901B6DCE8}" type="pres">
      <dgm:prSet presAssocID="{50A5FF14-6E91-44FA-A51B-1C31DF6FC79F}" presName="vert0" presStyleCnt="0">
        <dgm:presLayoutVars>
          <dgm:dir/>
          <dgm:animOne val="branch"/>
          <dgm:animLvl val="lvl"/>
        </dgm:presLayoutVars>
      </dgm:prSet>
      <dgm:spPr/>
      <dgm:t>
        <a:bodyPr/>
        <a:lstStyle/>
        <a:p>
          <a:endParaRPr lang="en-US"/>
        </a:p>
      </dgm:t>
    </dgm:pt>
    <dgm:pt modelId="{5CF985C4-2067-4047-BA7D-3E7421B6ADF5}" type="pres">
      <dgm:prSet presAssocID="{AA7F129A-39F8-4E37-A51A-8A89915D0C69}" presName="thickLine" presStyleLbl="alignNode1" presStyleIdx="0" presStyleCnt="1"/>
      <dgm:spPr/>
    </dgm:pt>
    <dgm:pt modelId="{D309DAB1-D711-4676-B0C9-9800CF1508A1}" type="pres">
      <dgm:prSet presAssocID="{AA7F129A-39F8-4E37-A51A-8A89915D0C69}" presName="horz1" presStyleCnt="0"/>
      <dgm:spPr/>
    </dgm:pt>
    <dgm:pt modelId="{44949010-F43F-4273-BF25-436505F95A4B}" type="pres">
      <dgm:prSet presAssocID="{AA7F129A-39F8-4E37-A51A-8A89915D0C69}" presName="tx1" presStyleLbl="revTx" presStyleIdx="0" presStyleCnt="4" custScaleX="57921"/>
      <dgm:spPr/>
      <dgm:t>
        <a:bodyPr/>
        <a:lstStyle/>
        <a:p>
          <a:endParaRPr lang="en-US"/>
        </a:p>
      </dgm:t>
    </dgm:pt>
    <dgm:pt modelId="{75D8827E-E612-4E90-9865-159664BEB206}" type="pres">
      <dgm:prSet presAssocID="{AA7F129A-39F8-4E37-A51A-8A89915D0C69}" presName="vert1" presStyleCnt="0"/>
      <dgm:spPr/>
    </dgm:pt>
    <dgm:pt modelId="{4ADF22E8-3100-462E-BD11-86CD665F8D0C}" type="pres">
      <dgm:prSet presAssocID="{8DAEB9DC-3CB1-4F23-B2DB-CA985410F4C2}" presName="vertSpace2a" presStyleCnt="0"/>
      <dgm:spPr/>
    </dgm:pt>
    <dgm:pt modelId="{E89453A4-B185-47D3-849E-E9CABF201404}" type="pres">
      <dgm:prSet presAssocID="{8DAEB9DC-3CB1-4F23-B2DB-CA985410F4C2}" presName="horz2" presStyleCnt="0"/>
      <dgm:spPr/>
    </dgm:pt>
    <dgm:pt modelId="{464B60E8-6366-42D9-A004-6BC91C48E882}" type="pres">
      <dgm:prSet presAssocID="{8DAEB9DC-3CB1-4F23-B2DB-CA985410F4C2}" presName="horzSpace2" presStyleCnt="0"/>
      <dgm:spPr/>
    </dgm:pt>
    <dgm:pt modelId="{84131AAB-2705-453B-9466-179E67A33C0A}" type="pres">
      <dgm:prSet presAssocID="{8DAEB9DC-3CB1-4F23-B2DB-CA985410F4C2}" presName="tx2" presStyleLbl="revTx" presStyleIdx="1" presStyleCnt="4"/>
      <dgm:spPr/>
      <dgm:t>
        <a:bodyPr/>
        <a:lstStyle/>
        <a:p>
          <a:endParaRPr lang="en-US"/>
        </a:p>
      </dgm:t>
    </dgm:pt>
    <dgm:pt modelId="{5AF543EF-8350-4780-A716-140E37046FB1}" type="pres">
      <dgm:prSet presAssocID="{8DAEB9DC-3CB1-4F23-B2DB-CA985410F4C2}" presName="vert2" presStyleCnt="0"/>
      <dgm:spPr/>
    </dgm:pt>
    <dgm:pt modelId="{81DB2667-891F-46F6-87CB-9D0638423E56}" type="pres">
      <dgm:prSet presAssocID="{8DAEB9DC-3CB1-4F23-B2DB-CA985410F4C2}" presName="thinLine2b" presStyleLbl="callout" presStyleIdx="0" presStyleCnt="3"/>
      <dgm:spPr/>
    </dgm:pt>
    <dgm:pt modelId="{E0DB8A00-2A7A-4B90-AC2F-B1E0849E1DBE}" type="pres">
      <dgm:prSet presAssocID="{8DAEB9DC-3CB1-4F23-B2DB-CA985410F4C2}" presName="vertSpace2b" presStyleCnt="0"/>
      <dgm:spPr/>
    </dgm:pt>
    <dgm:pt modelId="{C53C17A6-55AC-4EAA-9EA1-D63E2AAA0025}" type="pres">
      <dgm:prSet presAssocID="{B2A23F94-A4EC-4C97-BB35-F92B83B780A0}" presName="horz2" presStyleCnt="0"/>
      <dgm:spPr/>
    </dgm:pt>
    <dgm:pt modelId="{B4DE0A4A-DE8D-4CA4-A73D-F4986CE47A4E}" type="pres">
      <dgm:prSet presAssocID="{B2A23F94-A4EC-4C97-BB35-F92B83B780A0}" presName="horzSpace2" presStyleCnt="0"/>
      <dgm:spPr/>
    </dgm:pt>
    <dgm:pt modelId="{5B07DF82-DC38-4B52-A931-DAA4389F017B}" type="pres">
      <dgm:prSet presAssocID="{B2A23F94-A4EC-4C97-BB35-F92B83B780A0}" presName="tx2" presStyleLbl="revTx" presStyleIdx="2" presStyleCnt="4"/>
      <dgm:spPr/>
      <dgm:t>
        <a:bodyPr/>
        <a:lstStyle/>
        <a:p>
          <a:endParaRPr lang="en-US"/>
        </a:p>
      </dgm:t>
    </dgm:pt>
    <dgm:pt modelId="{10DDAC69-CCBF-4A78-814D-67B72EC11F79}" type="pres">
      <dgm:prSet presAssocID="{B2A23F94-A4EC-4C97-BB35-F92B83B780A0}" presName="vert2" presStyleCnt="0"/>
      <dgm:spPr/>
    </dgm:pt>
    <dgm:pt modelId="{6B27170D-1061-408B-8B34-5CBCA78B88AB}" type="pres">
      <dgm:prSet presAssocID="{B2A23F94-A4EC-4C97-BB35-F92B83B780A0}" presName="thinLine2b" presStyleLbl="callout" presStyleIdx="1" presStyleCnt="3"/>
      <dgm:spPr/>
    </dgm:pt>
    <dgm:pt modelId="{279E605E-E053-4D98-A68A-BD230BE9CCD2}" type="pres">
      <dgm:prSet presAssocID="{B2A23F94-A4EC-4C97-BB35-F92B83B780A0}" presName="vertSpace2b" presStyleCnt="0"/>
      <dgm:spPr/>
    </dgm:pt>
    <dgm:pt modelId="{65782B8B-C5CC-4EBB-9D1E-7859E80F1BB9}" type="pres">
      <dgm:prSet presAssocID="{27F56B54-934B-4E3A-8445-FA26BB3CE89C}" presName="horz2" presStyleCnt="0"/>
      <dgm:spPr/>
    </dgm:pt>
    <dgm:pt modelId="{8690290D-EA1F-4D6D-9F3C-3D0AB3CD5A1F}" type="pres">
      <dgm:prSet presAssocID="{27F56B54-934B-4E3A-8445-FA26BB3CE89C}" presName="horzSpace2" presStyleCnt="0"/>
      <dgm:spPr/>
    </dgm:pt>
    <dgm:pt modelId="{EBF3146E-A2AB-42BA-A1FD-33AF22DFB1C4}" type="pres">
      <dgm:prSet presAssocID="{27F56B54-934B-4E3A-8445-FA26BB3CE89C}" presName="tx2" presStyleLbl="revTx" presStyleIdx="3" presStyleCnt="4"/>
      <dgm:spPr/>
      <dgm:t>
        <a:bodyPr/>
        <a:lstStyle/>
        <a:p>
          <a:endParaRPr lang="en-US"/>
        </a:p>
      </dgm:t>
    </dgm:pt>
    <dgm:pt modelId="{1EA10885-9B8A-4B42-93B6-C1B58062C52F}" type="pres">
      <dgm:prSet presAssocID="{27F56B54-934B-4E3A-8445-FA26BB3CE89C}" presName="vert2" presStyleCnt="0"/>
      <dgm:spPr/>
    </dgm:pt>
    <dgm:pt modelId="{98DF41B8-5D6A-4631-BC1D-C5063401B9D3}" type="pres">
      <dgm:prSet presAssocID="{27F56B54-934B-4E3A-8445-FA26BB3CE89C}" presName="thinLine2b" presStyleLbl="callout" presStyleIdx="2" presStyleCnt="3"/>
      <dgm:spPr/>
    </dgm:pt>
    <dgm:pt modelId="{780B34CE-08A1-48D1-9003-65629E08C00F}" type="pres">
      <dgm:prSet presAssocID="{27F56B54-934B-4E3A-8445-FA26BB3CE89C}" presName="vertSpace2b" presStyleCnt="0"/>
      <dgm:spPr/>
    </dgm:pt>
  </dgm:ptLst>
  <dgm:cxnLst>
    <dgm:cxn modelId="{D479ABDE-EDBA-46B3-99F9-DF21A141CAF5}" srcId="{AA7F129A-39F8-4E37-A51A-8A89915D0C69}" destId="{B2A23F94-A4EC-4C97-BB35-F92B83B780A0}" srcOrd="1" destOrd="0" parTransId="{8F6F6E59-92AB-479B-BB5F-0F775359712A}" sibTransId="{41A893FE-0153-48B5-A0B0-D09CE5430403}"/>
    <dgm:cxn modelId="{12AC4C54-8688-4C2D-88A7-1E91D4B00D78}" type="presOf" srcId="{27F56B54-934B-4E3A-8445-FA26BB3CE89C}" destId="{EBF3146E-A2AB-42BA-A1FD-33AF22DFB1C4}" srcOrd="0" destOrd="0" presId="urn:microsoft.com/office/officeart/2008/layout/LinedList"/>
    <dgm:cxn modelId="{CDA2D0D8-F605-4EA0-B12C-74EB4870C248}" srcId="{AA7F129A-39F8-4E37-A51A-8A89915D0C69}" destId="{8DAEB9DC-3CB1-4F23-B2DB-CA985410F4C2}" srcOrd="0" destOrd="0" parTransId="{94297B8E-4E83-4E2C-881D-C820F5DD3E9A}" sibTransId="{E61B12C0-DD26-4203-838C-DC3BBEAF4A3F}"/>
    <dgm:cxn modelId="{5BD7F51D-51B0-491D-9A7E-62E915CB135A}" type="presOf" srcId="{B2A23F94-A4EC-4C97-BB35-F92B83B780A0}" destId="{5B07DF82-DC38-4B52-A931-DAA4389F017B}" srcOrd="0" destOrd="0" presId="urn:microsoft.com/office/officeart/2008/layout/LinedList"/>
    <dgm:cxn modelId="{0E8C992E-7BCF-4AF3-B86C-BD429208E5B3}" type="presOf" srcId="{50A5FF14-6E91-44FA-A51B-1C31DF6FC79F}" destId="{DC1747FD-EA5B-459F-BCA8-A4B901B6DCE8}" srcOrd="0" destOrd="0" presId="urn:microsoft.com/office/officeart/2008/layout/LinedList"/>
    <dgm:cxn modelId="{B92730E8-BBA6-4CC4-9228-702B64AABD1D}" type="presOf" srcId="{AA7F129A-39F8-4E37-A51A-8A89915D0C69}" destId="{44949010-F43F-4273-BF25-436505F95A4B}" srcOrd="0" destOrd="0" presId="urn:microsoft.com/office/officeart/2008/layout/LinedList"/>
    <dgm:cxn modelId="{E76A9518-2FAE-46BA-9C12-6E06DACB0B5D}" srcId="{50A5FF14-6E91-44FA-A51B-1C31DF6FC79F}" destId="{AA7F129A-39F8-4E37-A51A-8A89915D0C69}" srcOrd="0" destOrd="0" parTransId="{63BF66A6-09F3-4527-88E3-6381FFBE5AD5}" sibTransId="{BA214040-64A2-4A16-B651-4D733AFFE4C6}"/>
    <dgm:cxn modelId="{B35C8C81-F4A0-437D-A283-88248B7F72CC}" srcId="{AA7F129A-39F8-4E37-A51A-8A89915D0C69}" destId="{27F56B54-934B-4E3A-8445-FA26BB3CE89C}" srcOrd="2" destOrd="0" parTransId="{A57B0342-F409-4F18-9C32-BE569B2CEBC4}" sibTransId="{82F004CF-4B6A-4BA8-900D-93B379CE2B17}"/>
    <dgm:cxn modelId="{0D03DDB4-6575-47F9-AE6A-C6E9F789A458}" type="presOf" srcId="{8DAEB9DC-3CB1-4F23-B2DB-CA985410F4C2}" destId="{84131AAB-2705-453B-9466-179E67A33C0A}" srcOrd="0" destOrd="0" presId="urn:microsoft.com/office/officeart/2008/layout/LinedList"/>
    <dgm:cxn modelId="{64F70EA9-E0D5-417D-864C-31486F6A85AD}" type="presParOf" srcId="{DC1747FD-EA5B-459F-BCA8-A4B901B6DCE8}" destId="{5CF985C4-2067-4047-BA7D-3E7421B6ADF5}" srcOrd="0" destOrd="0" presId="urn:microsoft.com/office/officeart/2008/layout/LinedList"/>
    <dgm:cxn modelId="{C1B7A34D-530E-47A7-91D7-C800FA9815BF}" type="presParOf" srcId="{DC1747FD-EA5B-459F-BCA8-A4B901B6DCE8}" destId="{D309DAB1-D711-4676-B0C9-9800CF1508A1}" srcOrd="1" destOrd="0" presId="urn:microsoft.com/office/officeart/2008/layout/LinedList"/>
    <dgm:cxn modelId="{2C78FD2D-37D7-4369-91FA-1F840741056F}" type="presParOf" srcId="{D309DAB1-D711-4676-B0C9-9800CF1508A1}" destId="{44949010-F43F-4273-BF25-436505F95A4B}" srcOrd="0" destOrd="0" presId="urn:microsoft.com/office/officeart/2008/layout/LinedList"/>
    <dgm:cxn modelId="{B99417BA-4126-4209-9BEC-18AAB49DC406}" type="presParOf" srcId="{D309DAB1-D711-4676-B0C9-9800CF1508A1}" destId="{75D8827E-E612-4E90-9865-159664BEB206}" srcOrd="1" destOrd="0" presId="urn:microsoft.com/office/officeart/2008/layout/LinedList"/>
    <dgm:cxn modelId="{E02007E7-E1DF-4274-8FE0-6FB3C3A66081}" type="presParOf" srcId="{75D8827E-E612-4E90-9865-159664BEB206}" destId="{4ADF22E8-3100-462E-BD11-86CD665F8D0C}" srcOrd="0" destOrd="0" presId="urn:microsoft.com/office/officeart/2008/layout/LinedList"/>
    <dgm:cxn modelId="{DA0B616F-AE33-46D9-87A4-66944C690BC5}" type="presParOf" srcId="{75D8827E-E612-4E90-9865-159664BEB206}" destId="{E89453A4-B185-47D3-849E-E9CABF201404}" srcOrd="1" destOrd="0" presId="urn:microsoft.com/office/officeart/2008/layout/LinedList"/>
    <dgm:cxn modelId="{F54ADEE6-4C35-4068-B457-06954853783E}" type="presParOf" srcId="{E89453A4-B185-47D3-849E-E9CABF201404}" destId="{464B60E8-6366-42D9-A004-6BC91C48E882}" srcOrd="0" destOrd="0" presId="urn:microsoft.com/office/officeart/2008/layout/LinedList"/>
    <dgm:cxn modelId="{6FF1E083-4F64-4626-A4A1-D1744CE7C88C}" type="presParOf" srcId="{E89453A4-B185-47D3-849E-E9CABF201404}" destId="{84131AAB-2705-453B-9466-179E67A33C0A}" srcOrd="1" destOrd="0" presId="urn:microsoft.com/office/officeart/2008/layout/LinedList"/>
    <dgm:cxn modelId="{15E72954-81A2-41BE-9622-44DB2C7E3C38}" type="presParOf" srcId="{E89453A4-B185-47D3-849E-E9CABF201404}" destId="{5AF543EF-8350-4780-A716-140E37046FB1}" srcOrd="2" destOrd="0" presId="urn:microsoft.com/office/officeart/2008/layout/LinedList"/>
    <dgm:cxn modelId="{8CFAE725-CB2D-458A-BE93-2C98F9523048}" type="presParOf" srcId="{75D8827E-E612-4E90-9865-159664BEB206}" destId="{81DB2667-891F-46F6-87CB-9D0638423E56}" srcOrd="2" destOrd="0" presId="urn:microsoft.com/office/officeart/2008/layout/LinedList"/>
    <dgm:cxn modelId="{2B16B153-A7AB-4CBE-A623-3431AB9DF3CA}" type="presParOf" srcId="{75D8827E-E612-4E90-9865-159664BEB206}" destId="{E0DB8A00-2A7A-4B90-AC2F-B1E0849E1DBE}" srcOrd="3" destOrd="0" presId="urn:microsoft.com/office/officeart/2008/layout/LinedList"/>
    <dgm:cxn modelId="{48B75B82-327E-4C6A-B2A3-5E0777A35954}" type="presParOf" srcId="{75D8827E-E612-4E90-9865-159664BEB206}" destId="{C53C17A6-55AC-4EAA-9EA1-D63E2AAA0025}" srcOrd="4" destOrd="0" presId="urn:microsoft.com/office/officeart/2008/layout/LinedList"/>
    <dgm:cxn modelId="{9D2F8B5F-B814-460B-BD60-72E82C5EDD87}" type="presParOf" srcId="{C53C17A6-55AC-4EAA-9EA1-D63E2AAA0025}" destId="{B4DE0A4A-DE8D-4CA4-A73D-F4986CE47A4E}" srcOrd="0" destOrd="0" presId="urn:microsoft.com/office/officeart/2008/layout/LinedList"/>
    <dgm:cxn modelId="{198CF2CA-7868-4B1A-9C79-7FC025D662C3}" type="presParOf" srcId="{C53C17A6-55AC-4EAA-9EA1-D63E2AAA0025}" destId="{5B07DF82-DC38-4B52-A931-DAA4389F017B}" srcOrd="1" destOrd="0" presId="urn:microsoft.com/office/officeart/2008/layout/LinedList"/>
    <dgm:cxn modelId="{6FC61405-67FA-4EB3-B020-C7F0F8C81DE1}" type="presParOf" srcId="{C53C17A6-55AC-4EAA-9EA1-D63E2AAA0025}" destId="{10DDAC69-CCBF-4A78-814D-67B72EC11F79}" srcOrd="2" destOrd="0" presId="urn:microsoft.com/office/officeart/2008/layout/LinedList"/>
    <dgm:cxn modelId="{C326CF11-ACBF-4EDD-A856-014AE45B9E42}" type="presParOf" srcId="{75D8827E-E612-4E90-9865-159664BEB206}" destId="{6B27170D-1061-408B-8B34-5CBCA78B88AB}" srcOrd="5" destOrd="0" presId="urn:microsoft.com/office/officeart/2008/layout/LinedList"/>
    <dgm:cxn modelId="{DB6FC8BB-5A6D-4145-9947-950247A607E6}" type="presParOf" srcId="{75D8827E-E612-4E90-9865-159664BEB206}" destId="{279E605E-E053-4D98-A68A-BD230BE9CCD2}" srcOrd="6" destOrd="0" presId="urn:microsoft.com/office/officeart/2008/layout/LinedList"/>
    <dgm:cxn modelId="{C4E52D8A-6813-4340-A671-D88E53EE6846}" type="presParOf" srcId="{75D8827E-E612-4E90-9865-159664BEB206}" destId="{65782B8B-C5CC-4EBB-9D1E-7859E80F1BB9}" srcOrd="7" destOrd="0" presId="urn:microsoft.com/office/officeart/2008/layout/LinedList"/>
    <dgm:cxn modelId="{70D3588F-EDF3-4446-BD82-07ADA34DB50F}" type="presParOf" srcId="{65782B8B-C5CC-4EBB-9D1E-7859E80F1BB9}" destId="{8690290D-EA1F-4D6D-9F3C-3D0AB3CD5A1F}" srcOrd="0" destOrd="0" presId="urn:microsoft.com/office/officeart/2008/layout/LinedList"/>
    <dgm:cxn modelId="{7388A15E-8058-4758-BB39-087AF4941A8A}" type="presParOf" srcId="{65782B8B-C5CC-4EBB-9D1E-7859E80F1BB9}" destId="{EBF3146E-A2AB-42BA-A1FD-33AF22DFB1C4}" srcOrd="1" destOrd="0" presId="urn:microsoft.com/office/officeart/2008/layout/LinedList"/>
    <dgm:cxn modelId="{A2307528-666B-47DC-86DC-C747CCC196CA}" type="presParOf" srcId="{65782B8B-C5CC-4EBB-9D1E-7859E80F1BB9}" destId="{1EA10885-9B8A-4B42-93B6-C1B58062C52F}" srcOrd="2" destOrd="0" presId="urn:microsoft.com/office/officeart/2008/layout/LinedList"/>
    <dgm:cxn modelId="{90E2B0D1-04EF-4084-ACA8-25641E7E91EC}" type="presParOf" srcId="{75D8827E-E612-4E90-9865-159664BEB206}" destId="{98DF41B8-5D6A-4631-BC1D-C5063401B9D3}" srcOrd="8" destOrd="0" presId="urn:microsoft.com/office/officeart/2008/layout/LinedList"/>
    <dgm:cxn modelId="{270E6A4C-3EC7-4E60-A06C-32052B2294A8}" type="presParOf" srcId="{75D8827E-E612-4E90-9865-159664BEB206}" destId="{780B34CE-08A1-48D1-9003-65629E08C00F}" srcOrd="9"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A0C0224A-C1E9-4653-8FE2-9A8836151C0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80060EA9-3D16-45FE-98D4-BB4B85EE8530}">
      <dgm:prSet phldrT="[Текст]"/>
      <dgm:spPr/>
      <dgm:t>
        <a:bodyPr/>
        <a:lstStyle/>
        <a:p>
          <a:r>
            <a:rPr lang="uk-UA" b="0" i="0" noProof="0" dirty="0"/>
            <a:t>У випадках, передбачених статтею 25 ЗУ "Про відпустки", працівнику за його бажанням надається в обов`язковому порядку відпустка без збереження заробітної плати (ст. 84 КЗпП).</a:t>
          </a:r>
          <a:endParaRPr lang="uk-UA" noProof="0" dirty="0"/>
        </a:p>
      </dgm:t>
    </dgm:pt>
    <dgm:pt modelId="{A4B3BCED-B76F-4BB0-9A5D-664C1A81DD09}" type="parTrans" cxnId="{648D65C7-4557-4B50-B0C4-CA5F81D8C5D7}">
      <dgm:prSet/>
      <dgm:spPr/>
      <dgm:t>
        <a:bodyPr/>
        <a:lstStyle/>
        <a:p>
          <a:endParaRPr lang="ru-UA"/>
        </a:p>
      </dgm:t>
    </dgm:pt>
    <dgm:pt modelId="{CDBA8231-51EE-4AC1-BAD5-3D5F004BA37C}" type="sibTrans" cxnId="{648D65C7-4557-4B50-B0C4-CA5F81D8C5D7}">
      <dgm:prSet/>
      <dgm:spPr/>
      <dgm:t>
        <a:bodyPr/>
        <a:lstStyle/>
        <a:p>
          <a:endParaRPr lang="ru-UA"/>
        </a:p>
      </dgm:t>
    </dgm:pt>
    <dgm:pt modelId="{8443DCA0-70AA-4184-883F-2C4E982138DC}">
      <dgm:prSet phldrT="[Текст]" custT="1"/>
      <dgm:spPr/>
      <dgm:t>
        <a:bodyPr/>
        <a:lstStyle/>
        <a:p>
          <a:r>
            <a:rPr lang="uk-UA" sz="3200" b="0" i="0" noProof="0" dirty="0"/>
            <a:t>Існують 2 види відпусток без збереження заробітної плати, а саме:</a:t>
          </a:r>
          <a:endParaRPr lang="uk-UA" sz="3200" noProof="0" dirty="0"/>
        </a:p>
      </dgm:t>
    </dgm:pt>
    <dgm:pt modelId="{8B05BDA8-D225-460A-98A8-0D989B0A9272}" type="parTrans" cxnId="{D8DA762D-C157-433A-B8D4-CFC1616BC3B1}">
      <dgm:prSet/>
      <dgm:spPr/>
      <dgm:t>
        <a:bodyPr/>
        <a:lstStyle/>
        <a:p>
          <a:endParaRPr lang="ru-UA"/>
        </a:p>
      </dgm:t>
    </dgm:pt>
    <dgm:pt modelId="{D6791F52-43E5-4A16-820C-2DD1818B38FE}" type="sibTrans" cxnId="{D8DA762D-C157-433A-B8D4-CFC1616BC3B1}">
      <dgm:prSet/>
      <dgm:spPr/>
      <dgm:t>
        <a:bodyPr/>
        <a:lstStyle/>
        <a:p>
          <a:endParaRPr lang="ru-UA"/>
        </a:p>
      </dgm:t>
    </dgm:pt>
    <dgm:pt modelId="{D58A9573-D2B2-480F-9ACD-DEF46C9A50CC}">
      <dgm:prSet phldrT="[Текст]"/>
      <dgm:spPr/>
      <dgm:t>
        <a:bodyPr/>
        <a:lstStyle/>
        <a:p>
          <a:r>
            <a:rPr lang="uk-UA" b="0" i="0" noProof="0" dirty="0"/>
            <a:t>Протягом періоду дії воєнного стану роботодавець на прохання працівника може надавати йому відпустку без збереження заробітної плати без обмеження строку, встановленого ч. 1 ст. 26 Закону України "Про відпустки» (ч. 3 ст. 12 ЗУ «Про організацію трудових відносин в умовах воєнного стану»)</a:t>
          </a:r>
          <a:endParaRPr lang="uk-UA" noProof="0" dirty="0"/>
        </a:p>
      </dgm:t>
    </dgm:pt>
    <dgm:pt modelId="{D68A264C-465A-4C47-9C39-92463C872FC8}" type="parTrans" cxnId="{B4ABAF62-8B21-4EBD-BF0B-5700A1291B3D}">
      <dgm:prSet/>
      <dgm:spPr/>
      <dgm:t>
        <a:bodyPr/>
        <a:lstStyle/>
        <a:p>
          <a:endParaRPr lang="ru-UA"/>
        </a:p>
      </dgm:t>
    </dgm:pt>
    <dgm:pt modelId="{993F921A-96D9-43CA-AF83-E1E733EF2FE9}" type="sibTrans" cxnId="{B4ABAF62-8B21-4EBD-BF0B-5700A1291B3D}">
      <dgm:prSet/>
      <dgm:spPr/>
      <dgm:t>
        <a:bodyPr/>
        <a:lstStyle/>
        <a:p>
          <a:endParaRPr lang="ru-UA"/>
        </a:p>
      </dgm:t>
    </dgm:pt>
    <dgm:pt modelId="{84EE6B8F-15BE-4A90-8D54-B5B6C3690C3E}">
      <dgm:prSet/>
      <dgm:spPr/>
      <dgm:t>
        <a:bodyPr/>
        <a:lstStyle/>
        <a:p>
          <a:r>
            <a:rPr lang="uk-UA" b="0" i="0" noProof="0" dirty="0"/>
            <a:t>-відпустка, що надається працівникам в силу суб`єктивного права, що належить їм за законом, тобто в обов`язковому порядку (ст. 25 ЗУ «Про відпустки»),</a:t>
          </a:r>
        </a:p>
      </dgm:t>
    </dgm:pt>
    <dgm:pt modelId="{59B739B8-B9F5-481E-9C9A-EBFCE6BCDF34}" type="parTrans" cxnId="{D56D1D65-629B-45D4-9D84-264C0368545A}">
      <dgm:prSet/>
      <dgm:spPr/>
      <dgm:t>
        <a:bodyPr/>
        <a:lstStyle/>
        <a:p>
          <a:endParaRPr lang="ru-UA"/>
        </a:p>
      </dgm:t>
    </dgm:pt>
    <dgm:pt modelId="{F371051E-B2C7-4055-B71B-CC8A3546F3E2}" type="sibTrans" cxnId="{D56D1D65-629B-45D4-9D84-264C0368545A}">
      <dgm:prSet/>
      <dgm:spPr/>
      <dgm:t>
        <a:bodyPr/>
        <a:lstStyle/>
        <a:p>
          <a:endParaRPr lang="ru-UA"/>
        </a:p>
      </dgm:t>
    </dgm:pt>
    <dgm:pt modelId="{6BC8414C-DACF-4E5D-8F7D-01C15F44F0B9}">
      <dgm:prSet/>
      <dgm:spPr/>
      <dgm:t>
        <a:bodyPr/>
        <a:lstStyle/>
        <a:p>
          <a:r>
            <a:rPr lang="uk-UA" b="0" i="0" noProof="0" dirty="0"/>
            <a:t>-відпустка, що надається за погодженням сторін (ст. 26 ЗУ «Про відпустки»)</a:t>
          </a:r>
        </a:p>
      </dgm:t>
    </dgm:pt>
    <dgm:pt modelId="{2FBE6518-63ED-49B0-8906-C1993FDF5CB8}" type="parTrans" cxnId="{9A381AB6-581F-4C35-A0C8-F89093F19A7C}">
      <dgm:prSet/>
      <dgm:spPr/>
      <dgm:t>
        <a:bodyPr/>
        <a:lstStyle/>
        <a:p>
          <a:endParaRPr lang="ru-UA"/>
        </a:p>
      </dgm:t>
    </dgm:pt>
    <dgm:pt modelId="{1E3BA710-7ABC-4B11-BA12-90154A5391D4}" type="sibTrans" cxnId="{9A381AB6-581F-4C35-A0C8-F89093F19A7C}">
      <dgm:prSet/>
      <dgm:spPr/>
      <dgm:t>
        <a:bodyPr/>
        <a:lstStyle/>
        <a:p>
          <a:endParaRPr lang="ru-UA"/>
        </a:p>
      </dgm:t>
    </dgm:pt>
    <dgm:pt modelId="{1E04EC99-DFF4-4B28-9779-A5D0407493E0}">
      <dgm:prSet phldrT="[Текст]"/>
      <dgm:spPr/>
      <dgm:t>
        <a:bodyPr/>
        <a:lstStyle/>
        <a:p>
          <a:r>
            <a:rPr lang="uk-UA" b="0" i="0" noProof="0" dirty="0"/>
            <a:t>Надання працівникам відпусток без збереження заробітної плати здійснюється в інтересах саме працівників та за їх бажанням, а не з ініціативи роботодавця</a:t>
          </a:r>
          <a:endParaRPr lang="uk-UA" noProof="0" dirty="0"/>
        </a:p>
      </dgm:t>
    </dgm:pt>
    <dgm:pt modelId="{83A52FCC-555F-4DB8-AB19-159E80FB28D2}" type="parTrans" cxnId="{E248907A-2DC8-44F0-8DC8-E2FA38BE14F4}">
      <dgm:prSet/>
      <dgm:spPr/>
    </dgm:pt>
    <dgm:pt modelId="{F8A71E79-C0B2-4B4A-915E-0366845B2BEE}" type="sibTrans" cxnId="{E248907A-2DC8-44F0-8DC8-E2FA38BE14F4}">
      <dgm:prSet/>
      <dgm:spPr/>
    </dgm:pt>
    <dgm:pt modelId="{8861803B-B188-4646-A940-4168F0577496}" type="pres">
      <dgm:prSet presAssocID="{A0C0224A-C1E9-4653-8FE2-9A8836151C02}" presName="linear" presStyleCnt="0">
        <dgm:presLayoutVars>
          <dgm:animLvl val="lvl"/>
          <dgm:resizeHandles val="exact"/>
        </dgm:presLayoutVars>
      </dgm:prSet>
      <dgm:spPr/>
      <dgm:t>
        <a:bodyPr/>
        <a:lstStyle/>
        <a:p>
          <a:endParaRPr lang="en-US"/>
        </a:p>
      </dgm:t>
    </dgm:pt>
    <dgm:pt modelId="{BA32CA74-C898-4810-8215-DDD291D3907C}" type="pres">
      <dgm:prSet presAssocID="{80060EA9-3D16-45FE-98D4-BB4B85EE8530}" presName="parentText" presStyleLbl="node1" presStyleIdx="0" presStyleCnt="3">
        <dgm:presLayoutVars>
          <dgm:chMax val="0"/>
          <dgm:bulletEnabled val="1"/>
        </dgm:presLayoutVars>
      </dgm:prSet>
      <dgm:spPr/>
      <dgm:t>
        <a:bodyPr/>
        <a:lstStyle/>
        <a:p>
          <a:endParaRPr lang="en-US"/>
        </a:p>
      </dgm:t>
    </dgm:pt>
    <dgm:pt modelId="{F2663DDB-AF79-4774-94A4-303448794070}" type="pres">
      <dgm:prSet presAssocID="{80060EA9-3D16-45FE-98D4-BB4B85EE8530}" presName="childText" presStyleLbl="revTx" presStyleIdx="0" presStyleCnt="1">
        <dgm:presLayoutVars>
          <dgm:bulletEnabled val="1"/>
        </dgm:presLayoutVars>
      </dgm:prSet>
      <dgm:spPr/>
      <dgm:t>
        <a:bodyPr/>
        <a:lstStyle/>
        <a:p>
          <a:endParaRPr lang="en-US"/>
        </a:p>
      </dgm:t>
    </dgm:pt>
    <dgm:pt modelId="{D69BF492-A030-4636-B7E7-C0086D7751C0}" type="pres">
      <dgm:prSet presAssocID="{D58A9573-D2B2-480F-9ACD-DEF46C9A50CC}" presName="parentText" presStyleLbl="node1" presStyleIdx="1" presStyleCnt="3">
        <dgm:presLayoutVars>
          <dgm:chMax val="0"/>
          <dgm:bulletEnabled val="1"/>
        </dgm:presLayoutVars>
      </dgm:prSet>
      <dgm:spPr/>
      <dgm:t>
        <a:bodyPr/>
        <a:lstStyle/>
        <a:p>
          <a:endParaRPr lang="en-US"/>
        </a:p>
      </dgm:t>
    </dgm:pt>
    <dgm:pt modelId="{B11064E4-F75D-4370-B71B-4520517E441F}" type="pres">
      <dgm:prSet presAssocID="{993F921A-96D9-43CA-AF83-E1E733EF2FE9}" presName="spacer" presStyleCnt="0"/>
      <dgm:spPr/>
    </dgm:pt>
    <dgm:pt modelId="{D74A8601-94D7-42D6-AE70-4AA39D7D1335}" type="pres">
      <dgm:prSet presAssocID="{1E04EC99-DFF4-4B28-9779-A5D0407493E0}" presName="parentText" presStyleLbl="node1" presStyleIdx="2" presStyleCnt="3">
        <dgm:presLayoutVars>
          <dgm:chMax val="0"/>
          <dgm:bulletEnabled val="1"/>
        </dgm:presLayoutVars>
      </dgm:prSet>
      <dgm:spPr/>
      <dgm:t>
        <a:bodyPr/>
        <a:lstStyle/>
        <a:p>
          <a:endParaRPr lang="en-US"/>
        </a:p>
      </dgm:t>
    </dgm:pt>
  </dgm:ptLst>
  <dgm:cxnLst>
    <dgm:cxn modelId="{D8DA762D-C157-433A-B8D4-CFC1616BC3B1}" srcId="{80060EA9-3D16-45FE-98D4-BB4B85EE8530}" destId="{8443DCA0-70AA-4184-883F-2C4E982138DC}" srcOrd="0" destOrd="0" parTransId="{8B05BDA8-D225-460A-98A8-0D989B0A9272}" sibTransId="{D6791F52-43E5-4A16-820C-2DD1818B38FE}"/>
    <dgm:cxn modelId="{17BC3CDC-59C3-4886-A1FD-03672C8E201D}" type="presOf" srcId="{80060EA9-3D16-45FE-98D4-BB4B85EE8530}" destId="{BA32CA74-C898-4810-8215-DDD291D3907C}" srcOrd="0" destOrd="0" presId="urn:microsoft.com/office/officeart/2005/8/layout/vList2"/>
    <dgm:cxn modelId="{9A381AB6-581F-4C35-A0C8-F89093F19A7C}" srcId="{80060EA9-3D16-45FE-98D4-BB4B85EE8530}" destId="{6BC8414C-DACF-4E5D-8F7D-01C15F44F0B9}" srcOrd="2" destOrd="0" parTransId="{2FBE6518-63ED-49B0-8906-C1993FDF5CB8}" sibTransId="{1E3BA710-7ABC-4B11-BA12-90154A5391D4}"/>
    <dgm:cxn modelId="{E248907A-2DC8-44F0-8DC8-E2FA38BE14F4}" srcId="{A0C0224A-C1E9-4653-8FE2-9A8836151C02}" destId="{1E04EC99-DFF4-4B28-9779-A5D0407493E0}" srcOrd="2" destOrd="0" parTransId="{83A52FCC-555F-4DB8-AB19-159E80FB28D2}" sibTransId="{F8A71E79-C0B2-4B4A-915E-0366845B2BEE}"/>
    <dgm:cxn modelId="{00B1C532-52EA-43F5-8189-76C80FE904E7}" type="presOf" srcId="{1E04EC99-DFF4-4B28-9779-A5D0407493E0}" destId="{D74A8601-94D7-42D6-AE70-4AA39D7D1335}" srcOrd="0" destOrd="0" presId="urn:microsoft.com/office/officeart/2005/8/layout/vList2"/>
    <dgm:cxn modelId="{D56D1D65-629B-45D4-9D84-264C0368545A}" srcId="{80060EA9-3D16-45FE-98D4-BB4B85EE8530}" destId="{84EE6B8F-15BE-4A90-8D54-B5B6C3690C3E}" srcOrd="1" destOrd="0" parTransId="{59B739B8-B9F5-481E-9C9A-EBFCE6BCDF34}" sibTransId="{F371051E-B2C7-4055-B71B-CC8A3546F3E2}"/>
    <dgm:cxn modelId="{709EF28B-602E-4B80-97EB-BBAB7567F642}" type="presOf" srcId="{D58A9573-D2B2-480F-9ACD-DEF46C9A50CC}" destId="{D69BF492-A030-4636-B7E7-C0086D7751C0}" srcOrd="0" destOrd="0" presId="urn:microsoft.com/office/officeart/2005/8/layout/vList2"/>
    <dgm:cxn modelId="{8A5857A4-0C8D-41DE-A6B3-C0F1AE7A0429}" type="presOf" srcId="{8443DCA0-70AA-4184-883F-2C4E982138DC}" destId="{F2663DDB-AF79-4774-94A4-303448794070}" srcOrd="0" destOrd="0" presId="urn:microsoft.com/office/officeart/2005/8/layout/vList2"/>
    <dgm:cxn modelId="{B4ABAF62-8B21-4EBD-BF0B-5700A1291B3D}" srcId="{A0C0224A-C1E9-4653-8FE2-9A8836151C02}" destId="{D58A9573-D2B2-480F-9ACD-DEF46C9A50CC}" srcOrd="1" destOrd="0" parTransId="{D68A264C-465A-4C47-9C39-92463C872FC8}" sibTransId="{993F921A-96D9-43CA-AF83-E1E733EF2FE9}"/>
    <dgm:cxn modelId="{D0FA133F-40F6-427F-9BA3-B6928A6764D5}" type="presOf" srcId="{84EE6B8F-15BE-4A90-8D54-B5B6C3690C3E}" destId="{F2663DDB-AF79-4774-94A4-303448794070}" srcOrd="0" destOrd="1" presId="urn:microsoft.com/office/officeart/2005/8/layout/vList2"/>
    <dgm:cxn modelId="{1CEA8E63-08F9-410C-B9D5-11785AA619AF}" type="presOf" srcId="{A0C0224A-C1E9-4653-8FE2-9A8836151C02}" destId="{8861803B-B188-4646-A940-4168F0577496}" srcOrd="0" destOrd="0" presId="urn:microsoft.com/office/officeart/2005/8/layout/vList2"/>
    <dgm:cxn modelId="{EC8424FA-AF95-46A9-A71A-B36B14071488}" type="presOf" srcId="{6BC8414C-DACF-4E5D-8F7D-01C15F44F0B9}" destId="{F2663DDB-AF79-4774-94A4-303448794070}" srcOrd="0" destOrd="2" presId="urn:microsoft.com/office/officeart/2005/8/layout/vList2"/>
    <dgm:cxn modelId="{648D65C7-4557-4B50-B0C4-CA5F81D8C5D7}" srcId="{A0C0224A-C1E9-4653-8FE2-9A8836151C02}" destId="{80060EA9-3D16-45FE-98D4-BB4B85EE8530}" srcOrd="0" destOrd="0" parTransId="{A4B3BCED-B76F-4BB0-9A5D-664C1A81DD09}" sibTransId="{CDBA8231-51EE-4AC1-BAD5-3D5F004BA37C}"/>
    <dgm:cxn modelId="{9AC7C7A2-CEC6-4484-ACDB-26866C05C99A}" type="presParOf" srcId="{8861803B-B188-4646-A940-4168F0577496}" destId="{BA32CA74-C898-4810-8215-DDD291D3907C}" srcOrd="0" destOrd="0" presId="urn:microsoft.com/office/officeart/2005/8/layout/vList2"/>
    <dgm:cxn modelId="{96F5E15F-86A9-44AF-A481-ADBA9194EA64}" type="presParOf" srcId="{8861803B-B188-4646-A940-4168F0577496}" destId="{F2663DDB-AF79-4774-94A4-303448794070}" srcOrd="1" destOrd="0" presId="urn:microsoft.com/office/officeart/2005/8/layout/vList2"/>
    <dgm:cxn modelId="{5F16C589-B235-46E1-B3BB-3AA779B4B456}" type="presParOf" srcId="{8861803B-B188-4646-A940-4168F0577496}" destId="{D69BF492-A030-4636-B7E7-C0086D7751C0}" srcOrd="2" destOrd="0" presId="urn:microsoft.com/office/officeart/2005/8/layout/vList2"/>
    <dgm:cxn modelId="{1A7069F3-38CB-4E03-AB13-C2859367DE4C}" type="presParOf" srcId="{8861803B-B188-4646-A940-4168F0577496}" destId="{B11064E4-F75D-4370-B71B-4520517E441F}" srcOrd="3" destOrd="0" presId="urn:microsoft.com/office/officeart/2005/8/layout/vList2"/>
    <dgm:cxn modelId="{64DB6201-43C1-48C3-B0F3-ABC7D54100CF}" type="presParOf" srcId="{8861803B-B188-4646-A940-4168F0577496}" destId="{D74A8601-94D7-42D6-AE70-4AA39D7D1335}"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445C263F-915C-4719-B803-201518D9C584}"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ru-UA"/>
        </a:p>
      </dgm:t>
    </dgm:pt>
    <dgm:pt modelId="{9D6F1614-B7E3-4166-A033-BEE74A3ECDA3}">
      <dgm:prSet phldrT="[Текст]"/>
      <dgm:spPr/>
      <dgm:t>
        <a:bodyPr/>
        <a:lstStyle/>
        <a:p>
          <a:r>
            <a:rPr lang="uk-UA" noProof="0" dirty="0"/>
            <a:t>Позов задовільнити</a:t>
          </a:r>
        </a:p>
      </dgm:t>
    </dgm:pt>
    <dgm:pt modelId="{6AD0B29E-C478-46D5-9AB2-A64CC432B625}" type="parTrans" cxnId="{BC53F2DB-333E-451C-895A-67BCAD89A7A1}">
      <dgm:prSet/>
      <dgm:spPr/>
      <dgm:t>
        <a:bodyPr/>
        <a:lstStyle/>
        <a:p>
          <a:endParaRPr lang="ru-UA"/>
        </a:p>
      </dgm:t>
    </dgm:pt>
    <dgm:pt modelId="{A1F976C2-2487-4E6C-9935-B5ECB5A13F21}" type="sibTrans" cxnId="{BC53F2DB-333E-451C-895A-67BCAD89A7A1}">
      <dgm:prSet/>
      <dgm:spPr/>
      <dgm:t>
        <a:bodyPr/>
        <a:lstStyle/>
        <a:p>
          <a:endParaRPr lang="ru-UA"/>
        </a:p>
      </dgm:t>
    </dgm:pt>
    <dgm:pt modelId="{8BABB2F8-98E2-4ACC-9D1D-10F5F71E62E6}">
      <dgm:prSet phldrT="[Текст]"/>
      <dgm:spPr/>
      <dgm:t>
        <a:bodyPr/>
        <a:lstStyle/>
        <a:p>
          <a:r>
            <a:rPr lang="uk-UA" noProof="0" dirty="0"/>
            <a:t>Накази визнати незаконними та скасувати</a:t>
          </a:r>
        </a:p>
      </dgm:t>
    </dgm:pt>
    <dgm:pt modelId="{8D1B00A2-6B9B-4228-9158-5E75DC7E5104}" type="parTrans" cxnId="{F9882824-E1A0-45EC-811F-60C666860864}">
      <dgm:prSet/>
      <dgm:spPr/>
      <dgm:t>
        <a:bodyPr/>
        <a:lstStyle/>
        <a:p>
          <a:endParaRPr lang="ru-UA"/>
        </a:p>
      </dgm:t>
    </dgm:pt>
    <dgm:pt modelId="{F27F2714-A4AA-42F7-811B-2A97A6154F9E}" type="sibTrans" cxnId="{F9882824-E1A0-45EC-811F-60C666860864}">
      <dgm:prSet/>
      <dgm:spPr/>
      <dgm:t>
        <a:bodyPr/>
        <a:lstStyle/>
        <a:p>
          <a:endParaRPr lang="ru-UA"/>
        </a:p>
      </dgm:t>
    </dgm:pt>
    <dgm:pt modelId="{E3616FAA-AB89-4F11-BCD3-A2EBA1C49C4D}">
      <dgm:prSet phldrT="[Текст]"/>
      <dgm:spPr/>
      <dgm:t>
        <a:bodyPr/>
        <a:lstStyle/>
        <a:p>
          <a:r>
            <a:rPr lang="uk-UA" b="0" i="0" noProof="0" dirty="0"/>
            <a:t>Стягнути судовий збір</a:t>
          </a:r>
          <a:endParaRPr lang="uk-UA" noProof="0" dirty="0"/>
        </a:p>
      </dgm:t>
    </dgm:pt>
    <dgm:pt modelId="{FAAA019C-1B93-46CF-9909-76CA908673A7}" type="parTrans" cxnId="{D81EA505-F4F2-4BBC-B20A-DDA5AA7B7C3D}">
      <dgm:prSet/>
      <dgm:spPr/>
      <dgm:t>
        <a:bodyPr/>
        <a:lstStyle/>
        <a:p>
          <a:endParaRPr lang="ru-UA"/>
        </a:p>
      </dgm:t>
    </dgm:pt>
    <dgm:pt modelId="{AAB13192-AB8C-4DD1-9182-205E5758A8CF}" type="sibTrans" cxnId="{D81EA505-F4F2-4BBC-B20A-DDA5AA7B7C3D}">
      <dgm:prSet/>
      <dgm:spPr/>
      <dgm:t>
        <a:bodyPr/>
        <a:lstStyle/>
        <a:p>
          <a:endParaRPr lang="ru-UA"/>
        </a:p>
      </dgm:t>
    </dgm:pt>
    <dgm:pt modelId="{2AE84C96-F1CC-47F6-8A80-263DF5C071D6}" type="pres">
      <dgm:prSet presAssocID="{445C263F-915C-4719-B803-201518D9C584}" presName="rootnode" presStyleCnt="0">
        <dgm:presLayoutVars>
          <dgm:chMax/>
          <dgm:chPref/>
          <dgm:dir/>
          <dgm:animLvl val="lvl"/>
        </dgm:presLayoutVars>
      </dgm:prSet>
      <dgm:spPr/>
      <dgm:t>
        <a:bodyPr/>
        <a:lstStyle/>
        <a:p>
          <a:endParaRPr lang="en-US"/>
        </a:p>
      </dgm:t>
    </dgm:pt>
    <dgm:pt modelId="{027F436E-F60E-4FEB-A238-9BBAAAA1871E}" type="pres">
      <dgm:prSet presAssocID="{9D6F1614-B7E3-4166-A033-BEE74A3ECDA3}" presName="composite" presStyleCnt="0"/>
      <dgm:spPr/>
    </dgm:pt>
    <dgm:pt modelId="{6E862C84-9419-4108-8F83-43E4E180EB19}" type="pres">
      <dgm:prSet presAssocID="{9D6F1614-B7E3-4166-A033-BEE74A3ECDA3}" presName="LShape" presStyleLbl="alignNode1" presStyleIdx="0" presStyleCnt="5"/>
      <dgm:spPr/>
    </dgm:pt>
    <dgm:pt modelId="{00E99759-AF57-4683-B740-A753C1B8EA17}" type="pres">
      <dgm:prSet presAssocID="{9D6F1614-B7E3-4166-A033-BEE74A3ECDA3}" presName="ParentText" presStyleLbl="revTx" presStyleIdx="0" presStyleCnt="3">
        <dgm:presLayoutVars>
          <dgm:chMax val="0"/>
          <dgm:chPref val="0"/>
          <dgm:bulletEnabled val="1"/>
        </dgm:presLayoutVars>
      </dgm:prSet>
      <dgm:spPr/>
      <dgm:t>
        <a:bodyPr/>
        <a:lstStyle/>
        <a:p>
          <a:endParaRPr lang="en-US"/>
        </a:p>
      </dgm:t>
    </dgm:pt>
    <dgm:pt modelId="{E9CE0A68-4216-411A-8682-F52AB3C1EAE8}" type="pres">
      <dgm:prSet presAssocID="{9D6F1614-B7E3-4166-A033-BEE74A3ECDA3}" presName="Triangle" presStyleLbl="alignNode1" presStyleIdx="1" presStyleCnt="5"/>
      <dgm:spPr/>
    </dgm:pt>
    <dgm:pt modelId="{2F646412-A005-48B4-BB1C-6E1F27FC1DE7}" type="pres">
      <dgm:prSet presAssocID="{A1F976C2-2487-4E6C-9935-B5ECB5A13F21}" presName="sibTrans" presStyleCnt="0"/>
      <dgm:spPr/>
    </dgm:pt>
    <dgm:pt modelId="{0C6DB537-9394-4B61-8EEA-34680049D2BB}" type="pres">
      <dgm:prSet presAssocID="{A1F976C2-2487-4E6C-9935-B5ECB5A13F21}" presName="space" presStyleCnt="0"/>
      <dgm:spPr/>
    </dgm:pt>
    <dgm:pt modelId="{46E55470-5DD2-41F1-B250-397B2F1B7784}" type="pres">
      <dgm:prSet presAssocID="{8BABB2F8-98E2-4ACC-9D1D-10F5F71E62E6}" presName="composite" presStyleCnt="0"/>
      <dgm:spPr/>
    </dgm:pt>
    <dgm:pt modelId="{967BAE08-DB3B-416B-87C1-759C1343CD35}" type="pres">
      <dgm:prSet presAssocID="{8BABB2F8-98E2-4ACC-9D1D-10F5F71E62E6}" presName="LShape" presStyleLbl="alignNode1" presStyleIdx="2" presStyleCnt="5"/>
      <dgm:spPr/>
    </dgm:pt>
    <dgm:pt modelId="{E5FDA3A7-D86E-40E7-8FEE-62AA3C776CC0}" type="pres">
      <dgm:prSet presAssocID="{8BABB2F8-98E2-4ACC-9D1D-10F5F71E62E6}" presName="ParentText" presStyleLbl="revTx" presStyleIdx="1" presStyleCnt="3">
        <dgm:presLayoutVars>
          <dgm:chMax val="0"/>
          <dgm:chPref val="0"/>
          <dgm:bulletEnabled val="1"/>
        </dgm:presLayoutVars>
      </dgm:prSet>
      <dgm:spPr/>
      <dgm:t>
        <a:bodyPr/>
        <a:lstStyle/>
        <a:p>
          <a:endParaRPr lang="en-US"/>
        </a:p>
      </dgm:t>
    </dgm:pt>
    <dgm:pt modelId="{2989465F-E1D8-4038-8309-7CFFB4DEE4B0}" type="pres">
      <dgm:prSet presAssocID="{8BABB2F8-98E2-4ACC-9D1D-10F5F71E62E6}" presName="Triangle" presStyleLbl="alignNode1" presStyleIdx="3" presStyleCnt="5"/>
      <dgm:spPr/>
    </dgm:pt>
    <dgm:pt modelId="{A2E614DD-63B1-45FB-8CF9-272618DDEB97}" type="pres">
      <dgm:prSet presAssocID="{F27F2714-A4AA-42F7-811B-2A97A6154F9E}" presName="sibTrans" presStyleCnt="0"/>
      <dgm:spPr/>
    </dgm:pt>
    <dgm:pt modelId="{71D8C255-E037-4C70-9F2A-8A793E2156B6}" type="pres">
      <dgm:prSet presAssocID="{F27F2714-A4AA-42F7-811B-2A97A6154F9E}" presName="space" presStyleCnt="0"/>
      <dgm:spPr/>
    </dgm:pt>
    <dgm:pt modelId="{FC89FCCC-7430-4577-BAD2-A15F9DC34AF1}" type="pres">
      <dgm:prSet presAssocID="{E3616FAA-AB89-4F11-BCD3-A2EBA1C49C4D}" presName="composite" presStyleCnt="0"/>
      <dgm:spPr/>
    </dgm:pt>
    <dgm:pt modelId="{1B42972E-E5EC-4955-AE36-4D7FEC72FF04}" type="pres">
      <dgm:prSet presAssocID="{E3616FAA-AB89-4F11-BCD3-A2EBA1C49C4D}" presName="LShape" presStyleLbl="alignNode1" presStyleIdx="4" presStyleCnt="5"/>
      <dgm:spPr/>
    </dgm:pt>
    <dgm:pt modelId="{0973F882-23B3-4E1E-A884-51636CA914EA}" type="pres">
      <dgm:prSet presAssocID="{E3616FAA-AB89-4F11-BCD3-A2EBA1C49C4D}" presName="ParentText" presStyleLbl="revTx" presStyleIdx="2" presStyleCnt="3">
        <dgm:presLayoutVars>
          <dgm:chMax val="0"/>
          <dgm:chPref val="0"/>
          <dgm:bulletEnabled val="1"/>
        </dgm:presLayoutVars>
      </dgm:prSet>
      <dgm:spPr/>
      <dgm:t>
        <a:bodyPr/>
        <a:lstStyle/>
        <a:p>
          <a:endParaRPr lang="en-US"/>
        </a:p>
      </dgm:t>
    </dgm:pt>
  </dgm:ptLst>
  <dgm:cxnLst>
    <dgm:cxn modelId="{D81EA505-F4F2-4BBC-B20A-DDA5AA7B7C3D}" srcId="{445C263F-915C-4719-B803-201518D9C584}" destId="{E3616FAA-AB89-4F11-BCD3-A2EBA1C49C4D}" srcOrd="2" destOrd="0" parTransId="{FAAA019C-1B93-46CF-9909-76CA908673A7}" sibTransId="{AAB13192-AB8C-4DD1-9182-205E5758A8CF}"/>
    <dgm:cxn modelId="{F9882824-E1A0-45EC-811F-60C666860864}" srcId="{445C263F-915C-4719-B803-201518D9C584}" destId="{8BABB2F8-98E2-4ACC-9D1D-10F5F71E62E6}" srcOrd="1" destOrd="0" parTransId="{8D1B00A2-6B9B-4228-9158-5E75DC7E5104}" sibTransId="{F27F2714-A4AA-42F7-811B-2A97A6154F9E}"/>
    <dgm:cxn modelId="{B1410066-45E4-40EE-BF42-48BB0DEC7201}" type="presOf" srcId="{445C263F-915C-4719-B803-201518D9C584}" destId="{2AE84C96-F1CC-47F6-8A80-263DF5C071D6}" srcOrd="0" destOrd="0" presId="urn:microsoft.com/office/officeart/2009/3/layout/StepUpProcess"/>
    <dgm:cxn modelId="{BC53F2DB-333E-451C-895A-67BCAD89A7A1}" srcId="{445C263F-915C-4719-B803-201518D9C584}" destId="{9D6F1614-B7E3-4166-A033-BEE74A3ECDA3}" srcOrd="0" destOrd="0" parTransId="{6AD0B29E-C478-46D5-9AB2-A64CC432B625}" sibTransId="{A1F976C2-2487-4E6C-9935-B5ECB5A13F21}"/>
    <dgm:cxn modelId="{B6A0A409-119A-4579-BA73-E0A1E4A395A9}" type="presOf" srcId="{E3616FAA-AB89-4F11-BCD3-A2EBA1C49C4D}" destId="{0973F882-23B3-4E1E-A884-51636CA914EA}" srcOrd="0" destOrd="0" presId="urn:microsoft.com/office/officeart/2009/3/layout/StepUpProcess"/>
    <dgm:cxn modelId="{528167AA-3AEA-4184-BE78-AE725BF4F99D}" type="presOf" srcId="{8BABB2F8-98E2-4ACC-9D1D-10F5F71E62E6}" destId="{E5FDA3A7-D86E-40E7-8FEE-62AA3C776CC0}" srcOrd="0" destOrd="0" presId="urn:microsoft.com/office/officeart/2009/3/layout/StepUpProcess"/>
    <dgm:cxn modelId="{65464339-8605-44B0-8320-7026246C83F2}" type="presOf" srcId="{9D6F1614-B7E3-4166-A033-BEE74A3ECDA3}" destId="{00E99759-AF57-4683-B740-A753C1B8EA17}" srcOrd="0" destOrd="0" presId="urn:microsoft.com/office/officeart/2009/3/layout/StepUpProcess"/>
    <dgm:cxn modelId="{F1AD7A59-3B96-4B37-B208-E87FA061C43A}" type="presParOf" srcId="{2AE84C96-F1CC-47F6-8A80-263DF5C071D6}" destId="{027F436E-F60E-4FEB-A238-9BBAAAA1871E}" srcOrd="0" destOrd="0" presId="urn:microsoft.com/office/officeart/2009/3/layout/StepUpProcess"/>
    <dgm:cxn modelId="{96407EF1-6486-4FBA-B577-9DC6E014B637}" type="presParOf" srcId="{027F436E-F60E-4FEB-A238-9BBAAAA1871E}" destId="{6E862C84-9419-4108-8F83-43E4E180EB19}" srcOrd="0" destOrd="0" presId="urn:microsoft.com/office/officeart/2009/3/layout/StepUpProcess"/>
    <dgm:cxn modelId="{B9C760C7-6ED4-48C7-A6C4-7A09F1979210}" type="presParOf" srcId="{027F436E-F60E-4FEB-A238-9BBAAAA1871E}" destId="{00E99759-AF57-4683-B740-A753C1B8EA17}" srcOrd="1" destOrd="0" presId="urn:microsoft.com/office/officeart/2009/3/layout/StepUpProcess"/>
    <dgm:cxn modelId="{5166846C-3CD9-4F96-994D-F12A3AB6C984}" type="presParOf" srcId="{027F436E-F60E-4FEB-A238-9BBAAAA1871E}" destId="{E9CE0A68-4216-411A-8682-F52AB3C1EAE8}" srcOrd="2" destOrd="0" presId="urn:microsoft.com/office/officeart/2009/3/layout/StepUpProcess"/>
    <dgm:cxn modelId="{3C61B684-30C8-4498-994E-7B391F16F630}" type="presParOf" srcId="{2AE84C96-F1CC-47F6-8A80-263DF5C071D6}" destId="{2F646412-A005-48B4-BB1C-6E1F27FC1DE7}" srcOrd="1" destOrd="0" presId="urn:microsoft.com/office/officeart/2009/3/layout/StepUpProcess"/>
    <dgm:cxn modelId="{3FEEF3F8-3D11-43B1-8EC5-320E008585B1}" type="presParOf" srcId="{2F646412-A005-48B4-BB1C-6E1F27FC1DE7}" destId="{0C6DB537-9394-4B61-8EEA-34680049D2BB}" srcOrd="0" destOrd="0" presId="urn:microsoft.com/office/officeart/2009/3/layout/StepUpProcess"/>
    <dgm:cxn modelId="{4B3C0B58-3C74-4F70-96FC-1841AF62EB38}" type="presParOf" srcId="{2AE84C96-F1CC-47F6-8A80-263DF5C071D6}" destId="{46E55470-5DD2-41F1-B250-397B2F1B7784}" srcOrd="2" destOrd="0" presId="urn:microsoft.com/office/officeart/2009/3/layout/StepUpProcess"/>
    <dgm:cxn modelId="{D1E85F5D-1446-41C1-8BF2-192BD2DFD70D}" type="presParOf" srcId="{46E55470-5DD2-41F1-B250-397B2F1B7784}" destId="{967BAE08-DB3B-416B-87C1-759C1343CD35}" srcOrd="0" destOrd="0" presId="urn:microsoft.com/office/officeart/2009/3/layout/StepUpProcess"/>
    <dgm:cxn modelId="{6E4DD6E4-3B5E-497F-A471-1E469DEDFA03}" type="presParOf" srcId="{46E55470-5DD2-41F1-B250-397B2F1B7784}" destId="{E5FDA3A7-D86E-40E7-8FEE-62AA3C776CC0}" srcOrd="1" destOrd="0" presId="urn:microsoft.com/office/officeart/2009/3/layout/StepUpProcess"/>
    <dgm:cxn modelId="{3E89D84D-33FF-494E-B6CB-E3FBEC5D7550}" type="presParOf" srcId="{46E55470-5DD2-41F1-B250-397B2F1B7784}" destId="{2989465F-E1D8-4038-8309-7CFFB4DEE4B0}" srcOrd="2" destOrd="0" presId="urn:microsoft.com/office/officeart/2009/3/layout/StepUpProcess"/>
    <dgm:cxn modelId="{EA67DCE6-9474-4C46-B7BF-71640D5471D7}" type="presParOf" srcId="{2AE84C96-F1CC-47F6-8A80-263DF5C071D6}" destId="{A2E614DD-63B1-45FB-8CF9-272618DDEB97}" srcOrd="3" destOrd="0" presId="urn:microsoft.com/office/officeart/2009/3/layout/StepUpProcess"/>
    <dgm:cxn modelId="{95E995AE-0AF7-46B4-8791-BBDA2817D41F}" type="presParOf" srcId="{A2E614DD-63B1-45FB-8CF9-272618DDEB97}" destId="{71D8C255-E037-4C70-9F2A-8A793E2156B6}" srcOrd="0" destOrd="0" presId="urn:microsoft.com/office/officeart/2009/3/layout/StepUpProcess"/>
    <dgm:cxn modelId="{602CD899-18F8-444D-BE07-70CE47D52E30}" type="presParOf" srcId="{2AE84C96-F1CC-47F6-8A80-263DF5C071D6}" destId="{FC89FCCC-7430-4577-BAD2-A15F9DC34AF1}" srcOrd="4" destOrd="0" presId="urn:microsoft.com/office/officeart/2009/3/layout/StepUpProcess"/>
    <dgm:cxn modelId="{5CD0F34D-F1A6-41CB-AC16-69F59D9F6BBF}" type="presParOf" srcId="{FC89FCCC-7430-4577-BAD2-A15F9DC34AF1}" destId="{1B42972E-E5EC-4955-AE36-4D7FEC72FF04}" srcOrd="0" destOrd="0" presId="urn:microsoft.com/office/officeart/2009/3/layout/StepUpProcess"/>
    <dgm:cxn modelId="{03618D45-E481-43BB-BB89-B07B38D91662}" type="presParOf" srcId="{FC89FCCC-7430-4577-BAD2-A15F9DC34AF1}" destId="{0973F882-23B3-4E1E-A884-51636CA914EA}"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50A5FF14-6E91-44FA-A51B-1C31DF6FC79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AA7F129A-39F8-4E37-A51A-8A89915D0C69}">
      <dgm:prSet phldrT="[Текст]"/>
      <dgm:spPr>
        <a:solidFill>
          <a:schemeClr val="accent2">
            <a:lumMod val="20000"/>
            <a:lumOff val="80000"/>
          </a:schemeClr>
        </a:solidFill>
      </dgm:spPr>
      <dgm:t>
        <a:bodyPr vert="vert270"/>
        <a:lstStyle/>
        <a:p>
          <a:pPr algn="ctr"/>
          <a:r>
            <a:rPr lang="uk-UA" dirty="0"/>
            <a:t>Справа про звільнення за прогул (медична частина) </a:t>
          </a:r>
        </a:p>
        <a:p>
          <a:pPr algn="ctr"/>
          <a:r>
            <a:rPr lang="ru-RU" b="0" i="0" dirty="0"/>
            <a:t>Справа № </a:t>
          </a:r>
          <a:r>
            <a:rPr lang="ru-UA" b="0" i="0" dirty="0"/>
            <a:t>750/2698/22</a:t>
          </a:r>
          <a:endParaRPr lang="ru-UA" dirty="0"/>
        </a:p>
      </dgm:t>
    </dgm:pt>
    <dgm:pt modelId="{63BF66A6-09F3-4527-88E3-6381FFBE5AD5}" type="parTrans" cxnId="{E76A9518-2FAE-46BA-9C12-6E06DACB0B5D}">
      <dgm:prSet/>
      <dgm:spPr/>
      <dgm:t>
        <a:bodyPr/>
        <a:lstStyle/>
        <a:p>
          <a:endParaRPr lang="ru-UA"/>
        </a:p>
      </dgm:t>
    </dgm:pt>
    <dgm:pt modelId="{BA214040-64A2-4A16-B651-4D733AFFE4C6}" type="sibTrans" cxnId="{E76A9518-2FAE-46BA-9C12-6E06DACB0B5D}">
      <dgm:prSet/>
      <dgm:spPr/>
      <dgm:t>
        <a:bodyPr/>
        <a:lstStyle/>
        <a:p>
          <a:endParaRPr lang="ru-UA"/>
        </a:p>
      </dgm:t>
    </dgm:pt>
    <dgm:pt modelId="{8DAEB9DC-3CB1-4F23-B2DB-CA985410F4C2}">
      <dgm:prSet phldrT="[Текст]"/>
      <dgm:spPr/>
      <dgm:t>
        <a:bodyPr/>
        <a:lstStyle/>
        <a:p>
          <a:r>
            <a:rPr lang="uk-UA" dirty="0"/>
            <a:t>Військовий госпіталь у Чернігові працював. </a:t>
          </a:r>
          <a:r>
            <a:rPr lang="uk-UA" b="0" i="0" noProof="0" dirty="0"/>
            <a:t>Позивач 24.02.2022 перебувала на робочому місці, а вже з 25.02.2022 її на робочому місці не було. </a:t>
          </a:r>
          <a:endParaRPr lang="ru-UA" dirty="0"/>
        </a:p>
      </dgm:t>
    </dgm:pt>
    <dgm:pt modelId="{94297B8E-4E83-4E2C-881D-C820F5DD3E9A}" type="parTrans" cxnId="{CDA2D0D8-F605-4EA0-B12C-74EB4870C248}">
      <dgm:prSet/>
      <dgm:spPr/>
      <dgm:t>
        <a:bodyPr/>
        <a:lstStyle/>
        <a:p>
          <a:endParaRPr lang="ru-UA"/>
        </a:p>
      </dgm:t>
    </dgm:pt>
    <dgm:pt modelId="{E61B12C0-DD26-4203-838C-DC3BBEAF4A3F}" type="sibTrans" cxnId="{CDA2D0D8-F605-4EA0-B12C-74EB4870C248}">
      <dgm:prSet/>
      <dgm:spPr/>
      <dgm:t>
        <a:bodyPr/>
        <a:lstStyle/>
        <a:p>
          <a:endParaRPr lang="ru-UA"/>
        </a:p>
      </dgm:t>
    </dgm:pt>
    <dgm:pt modelId="{B2A23F94-A4EC-4C97-BB35-F92B83B780A0}">
      <dgm:prSet phldrT="[Текст]"/>
      <dgm:spPr/>
      <dgm:t>
        <a:bodyPr/>
        <a:lstStyle/>
        <a:p>
          <a:r>
            <a:rPr lang="uk-UA" b="0" i="0" noProof="0" dirty="0"/>
            <a:t>На дзвінки не відповідала, адресу, куди можна щось надіслати не залишила. Згоду профспілкового комітету отримали.</a:t>
          </a:r>
        </a:p>
        <a:p>
          <a:r>
            <a:rPr lang="uk-UA" b="0" i="0" noProof="0" dirty="0"/>
            <a:t>09.03.2022 позивачем була направлена єдина заява, датована 25.02.2022 року, про видачу наказу про простій починаючи з 25.02.2022</a:t>
          </a:r>
        </a:p>
      </dgm:t>
    </dgm:pt>
    <dgm:pt modelId="{8F6F6E59-92AB-479B-BB5F-0F775359712A}" type="parTrans" cxnId="{D479ABDE-EDBA-46B3-99F9-DF21A141CAF5}">
      <dgm:prSet/>
      <dgm:spPr/>
      <dgm:t>
        <a:bodyPr/>
        <a:lstStyle/>
        <a:p>
          <a:endParaRPr lang="ru-UA"/>
        </a:p>
      </dgm:t>
    </dgm:pt>
    <dgm:pt modelId="{41A893FE-0153-48B5-A0B0-D09CE5430403}" type="sibTrans" cxnId="{D479ABDE-EDBA-46B3-99F9-DF21A141CAF5}">
      <dgm:prSet/>
      <dgm:spPr/>
      <dgm:t>
        <a:bodyPr/>
        <a:lstStyle/>
        <a:p>
          <a:endParaRPr lang="ru-UA"/>
        </a:p>
      </dgm:t>
    </dgm:pt>
    <dgm:pt modelId="{27F56B54-934B-4E3A-8445-FA26BB3CE89C}">
      <dgm:prSet phldrT="[Текст]"/>
      <dgm:spPr/>
      <dgm:t>
        <a:bodyPr/>
        <a:lstStyle/>
        <a:p>
          <a:r>
            <a:rPr lang="uk-UA" b="0" i="0" noProof="0" dirty="0"/>
            <a:t>14.03.2022 року позивач була звільнена з роботи за п.4 чт.40 КЗпП України за прогул без поважних причин. </a:t>
          </a:r>
          <a:endParaRPr lang="uk-UA" noProof="0" dirty="0"/>
        </a:p>
      </dgm:t>
    </dgm:pt>
    <dgm:pt modelId="{A57B0342-F409-4F18-9C32-BE569B2CEBC4}" type="parTrans" cxnId="{B35C8C81-F4A0-437D-A283-88248B7F72CC}">
      <dgm:prSet/>
      <dgm:spPr/>
      <dgm:t>
        <a:bodyPr/>
        <a:lstStyle/>
        <a:p>
          <a:endParaRPr lang="ru-UA"/>
        </a:p>
      </dgm:t>
    </dgm:pt>
    <dgm:pt modelId="{82F004CF-4B6A-4BA8-900D-93B379CE2B17}" type="sibTrans" cxnId="{B35C8C81-F4A0-437D-A283-88248B7F72CC}">
      <dgm:prSet/>
      <dgm:spPr/>
      <dgm:t>
        <a:bodyPr/>
        <a:lstStyle/>
        <a:p>
          <a:endParaRPr lang="ru-UA"/>
        </a:p>
      </dgm:t>
    </dgm:pt>
    <dgm:pt modelId="{DC1747FD-EA5B-459F-BCA8-A4B901B6DCE8}" type="pres">
      <dgm:prSet presAssocID="{50A5FF14-6E91-44FA-A51B-1C31DF6FC79F}" presName="vert0" presStyleCnt="0">
        <dgm:presLayoutVars>
          <dgm:dir/>
          <dgm:animOne val="branch"/>
          <dgm:animLvl val="lvl"/>
        </dgm:presLayoutVars>
      </dgm:prSet>
      <dgm:spPr/>
      <dgm:t>
        <a:bodyPr/>
        <a:lstStyle/>
        <a:p>
          <a:endParaRPr lang="en-US"/>
        </a:p>
      </dgm:t>
    </dgm:pt>
    <dgm:pt modelId="{5CF985C4-2067-4047-BA7D-3E7421B6ADF5}" type="pres">
      <dgm:prSet presAssocID="{AA7F129A-39F8-4E37-A51A-8A89915D0C69}" presName="thickLine" presStyleLbl="alignNode1" presStyleIdx="0" presStyleCnt="1"/>
      <dgm:spPr/>
    </dgm:pt>
    <dgm:pt modelId="{D309DAB1-D711-4676-B0C9-9800CF1508A1}" type="pres">
      <dgm:prSet presAssocID="{AA7F129A-39F8-4E37-A51A-8A89915D0C69}" presName="horz1" presStyleCnt="0"/>
      <dgm:spPr/>
    </dgm:pt>
    <dgm:pt modelId="{44949010-F43F-4273-BF25-436505F95A4B}" type="pres">
      <dgm:prSet presAssocID="{AA7F129A-39F8-4E37-A51A-8A89915D0C69}" presName="tx1" presStyleLbl="revTx" presStyleIdx="0" presStyleCnt="4" custScaleX="57921"/>
      <dgm:spPr/>
      <dgm:t>
        <a:bodyPr/>
        <a:lstStyle/>
        <a:p>
          <a:endParaRPr lang="en-US"/>
        </a:p>
      </dgm:t>
    </dgm:pt>
    <dgm:pt modelId="{75D8827E-E612-4E90-9865-159664BEB206}" type="pres">
      <dgm:prSet presAssocID="{AA7F129A-39F8-4E37-A51A-8A89915D0C69}" presName="vert1" presStyleCnt="0"/>
      <dgm:spPr/>
    </dgm:pt>
    <dgm:pt modelId="{4ADF22E8-3100-462E-BD11-86CD665F8D0C}" type="pres">
      <dgm:prSet presAssocID="{8DAEB9DC-3CB1-4F23-B2DB-CA985410F4C2}" presName="vertSpace2a" presStyleCnt="0"/>
      <dgm:spPr/>
    </dgm:pt>
    <dgm:pt modelId="{E89453A4-B185-47D3-849E-E9CABF201404}" type="pres">
      <dgm:prSet presAssocID="{8DAEB9DC-3CB1-4F23-B2DB-CA985410F4C2}" presName="horz2" presStyleCnt="0"/>
      <dgm:spPr/>
    </dgm:pt>
    <dgm:pt modelId="{464B60E8-6366-42D9-A004-6BC91C48E882}" type="pres">
      <dgm:prSet presAssocID="{8DAEB9DC-3CB1-4F23-B2DB-CA985410F4C2}" presName="horzSpace2" presStyleCnt="0"/>
      <dgm:spPr/>
    </dgm:pt>
    <dgm:pt modelId="{84131AAB-2705-453B-9466-179E67A33C0A}" type="pres">
      <dgm:prSet presAssocID="{8DAEB9DC-3CB1-4F23-B2DB-CA985410F4C2}" presName="tx2" presStyleLbl="revTx" presStyleIdx="1" presStyleCnt="4"/>
      <dgm:spPr/>
      <dgm:t>
        <a:bodyPr/>
        <a:lstStyle/>
        <a:p>
          <a:endParaRPr lang="en-US"/>
        </a:p>
      </dgm:t>
    </dgm:pt>
    <dgm:pt modelId="{5AF543EF-8350-4780-A716-140E37046FB1}" type="pres">
      <dgm:prSet presAssocID="{8DAEB9DC-3CB1-4F23-B2DB-CA985410F4C2}" presName="vert2" presStyleCnt="0"/>
      <dgm:spPr/>
    </dgm:pt>
    <dgm:pt modelId="{81DB2667-891F-46F6-87CB-9D0638423E56}" type="pres">
      <dgm:prSet presAssocID="{8DAEB9DC-3CB1-4F23-B2DB-CA985410F4C2}" presName="thinLine2b" presStyleLbl="callout" presStyleIdx="0" presStyleCnt="3"/>
      <dgm:spPr/>
    </dgm:pt>
    <dgm:pt modelId="{E0DB8A00-2A7A-4B90-AC2F-B1E0849E1DBE}" type="pres">
      <dgm:prSet presAssocID="{8DAEB9DC-3CB1-4F23-B2DB-CA985410F4C2}" presName="vertSpace2b" presStyleCnt="0"/>
      <dgm:spPr/>
    </dgm:pt>
    <dgm:pt modelId="{C53C17A6-55AC-4EAA-9EA1-D63E2AAA0025}" type="pres">
      <dgm:prSet presAssocID="{B2A23F94-A4EC-4C97-BB35-F92B83B780A0}" presName="horz2" presStyleCnt="0"/>
      <dgm:spPr/>
    </dgm:pt>
    <dgm:pt modelId="{B4DE0A4A-DE8D-4CA4-A73D-F4986CE47A4E}" type="pres">
      <dgm:prSet presAssocID="{B2A23F94-A4EC-4C97-BB35-F92B83B780A0}" presName="horzSpace2" presStyleCnt="0"/>
      <dgm:spPr/>
    </dgm:pt>
    <dgm:pt modelId="{5B07DF82-DC38-4B52-A931-DAA4389F017B}" type="pres">
      <dgm:prSet presAssocID="{B2A23F94-A4EC-4C97-BB35-F92B83B780A0}" presName="tx2" presStyleLbl="revTx" presStyleIdx="2" presStyleCnt="4"/>
      <dgm:spPr/>
      <dgm:t>
        <a:bodyPr/>
        <a:lstStyle/>
        <a:p>
          <a:endParaRPr lang="en-US"/>
        </a:p>
      </dgm:t>
    </dgm:pt>
    <dgm:pt modelId="{10DDAC69-CCBF-4A78-814D-67B72EC11F79}" type="pres">
      <dgm:prSet presAssocID="{B2A23F94-A4EC-4C97-BB35-F92B83B780A0}" presName="vert2" presStyleCnt="0"/>
      <dgm:spPr/>
    </dgm:pt>
    <dgm:pt modelId="{6B27170D-1061-408B-8B34-5CBCA78B88AB}" type="pres">
      <dgm:prSet presAssocID="{B2A23F94-A4EC-4C97-BB35-F92B83B780A0}" presName="thinLine2b" presStyleLbl="callout" presStyleIdx="1" presStyleCnt="3"/>
      <dgm:spPr/>
    </dgm:pt>
    <dgm:pt modelId="{279E605E-E053-4D98-A68A-BD230BE9CCD2}" type="pres">
      <dgm:prSet presAssocID="{B2A23F94-A4EC-4C97-BB35-F92B83B780A0}" presName="vertSpace2b" presStyleCnt="0"/>
      <dgm:spPr/>
    </dgm:pt>
    <dgm:pt modelId="{65782B8B-C5CC-4EBB-9D1E-7859E80F1BB9}" type="pres">
      <dgm:prSet presAssocID="{27F56B54-934B-4E3A-8445-FA26BB3CE89C}" presName="horz2" presStyleCnt="0"/>
      <dgm:spPr/>
    </dgm:pt>
    <dgm:pt modelId="{8690290D-EA1F-4D6D-9F3C-3D0AB3CD5A1F}" type="pres">
      <dgm:prSet presAssocID="{27F56B54-934B-4E3A-8445-FA26BB3CE89C}" presName="horzSpace2" presStyleCnt="0"/>
      <dgm:spPr/>
    </dgm:pt>
    <dgm:pt modelId="{EBF3146E-A2AB-42BA-A1FD-33AF22DFB1C4}" type="pres">
      <dgm:prSet presAssocID="{27F56B54-934B-4E3A-8445-FA26BB3CE89C}" presName="tx2" presStyleLbl="revTx" presStyleIdx="3" presStyleCnt="4"/>
      <dgm:spPr/>
      <dgm:t>
        <a:bodyPr/>
        <a:lstStyle/>
        <a:p>
          <a:endParaRPr lang="en-US"/>
        </a:p>
      </dgm:t>
    </dgm:pt>
    <dgm:pt modelId="{1EA10885-9B8A-4B42-93B6-C1B58062C52F}" type="pres">
      <dgm:prSet presAssocID="{27F56B54-934B-4E3A-8445-FA26BB3CE89C}" presName="vert2" presStyleCnt="0"/>
      <dgm:spPr/>
    </dgm:pt>
    <dgm:pt modelId="{98DF41B8-5D6A-4631-BC1D-C5063401B9D3}" type="pres">
      <dgm:prSet presAssocID="{27F56B54-934B-4E3A-8445-FA26BB3CE89C}" presName="thinLine2b" presStyleLbl="callout" presStyleIdx="2" presStyleCnt="3"/>
      <dgm:spPr/>
    </dgm:pt>
    <dgm:pt modelId="{780B34CE-08A1-48D1-9003-65629E08C00F}" type="pres">
      <dgm:prSet presAssocID="{27F56B54-934B-4E3A-8445-FA26BB3CE89C}" presName="vertSpace2b" presStyleCnt="0"/>
      <dgm:spPr/>
    </dgm:pt>
  </dgm:ptLst>
  <dgm:cxnLst>
    <dgm:cxn modelId="{D479ABDE-EDBA-46B3-99F9-DF21A141CAF5}" srcId="{AA7F129A-39F8-4E37-A51A-8A89915D0C69}" destId="{B2A23F94-A4EC-4C97-BB35-F92B83B780A0}" srcOrd="1" destOrd="0" parTransId="{8F6F6E59-92AB-479B-BB5F-0F775359712A}" sibTransId="{41A893FE-0153-48B5-A0B0-D09CE5430403}"/>
    <dgm:cxn modelId="{12AC4C54-8688-4C2D-88A7-1E91D4B00D78}" type="presOf" srcId="{27F56B54-934B-4E3A-8445-FA26BB3CE89C}" destId="{EBF3146E-A2AB-42BA-A1FD-33AF22DFB1C4}" srcOrd="0" destOrd="0" presId="urn:microsoft.com/office/officeart/2008/layout/LinedList"/>
    <dgm:cxn modelId="{CDA2D0D8-F605-4EA0-B12C-74EB4870C248}" srcId="{AA7F129A-39F8-4E37-A51A-8A89915D0C69}" destId="{8DAEB9DC-3CB1-4F23-B2DB-CA985410F4C2}" srcOrd="0" destOrd="0" parTransId="{94297B8E-4E83-4E2C-881D-C820F5DD3E9A}" sibTransId="{E61B12C0-DD26-4203-838C-DC3BBEAF4A3F}"/>
    <dgm:cxn modelId="{5BD7F51D-51B0-491D-9A7E-62E915CB135A}" type="presOf" srcId="{B2A23F94-A4EC-4C97-BB35-F92B83B780A0}" destId="{5B07DF82-DC38-4B52-A931-DAA4389F017B}" srcOrd="0" destOrd="0" presId="urn:microsoft.com/office/officeart/2008/layout/LinedList"/>
    <dgm:cxn modelId="{0E8C992E-7BCF-4AF3-B86C-BD429208E5B3}" type="presOf" srcId="{50A5FF14-6E91-44FA-A51B-1C31DF6FC79F}" destId="{DC1747FD-EA5B-459F-BCA8-A4B901B6DCE8}" srcOrd="0" destOrd="0" presId="urn:microsoft.com/office/officeart/2008/layout/LinedList"/>
    <dgm:cxn modelId="{B92730E8-BBA6-4CC4-9228-702B64AABD1D}" type="presOf" srcId="{AA7F129A-39F8-4E37-A51A-8A89915D0C69}" destId="{44949010-F43F-4273-BF25-436505F95A4B}" srcOrd="0" destOrd="0" presId="urn:microsoft.com/office/officeart/2008/layout/LinedList"/>
    <dgm:cxn modelId="{E76A9518-2FAE-46BA-9C12-6E06DACB0B5D}" srcId="{50A5FF14-6E91-44FA-A51B-1C31DF6FC79F}" destId="{AA7F129A-39F8-4E37-A51A-8A89915D0C69}" srcOrd="0" destOrd="0" parTransId="{63BF66A6-09F3-4527-88E3-6381FFBE5AD5}" sibTransId="{BA214040-64A2-4A16-B651-4D733AFFE4C6}"/>
    <dgm:cxn modelId="{B35C8C81-F4A0-437D-A283-88248B7F72CC}" srcId="{AA7F129A-39F8-4E37-A51A-8A89915D0C69}" destId="{27F56B54-934B-4E3A-8445-FA26BB3CE89C}" srcOrd="2" destOrd="0" parTransId="{A57B0342-F409-4F18-9C32-BE569B2CEBC4}" sibTransId="{82F004CF-4B6A-4BA8-900D-93B379CE2B17}"/>
    <dgm:cxn modelId="{0D03DDB4-6575-47F9-AE6A-C6E9F789A458}" type="presOf" srcId="{8DAEB9DC-3CB1-4F23-B2DB-CA985410F4C2}" destId="{84131AAB-2705-453B-9466-179E67A33C0A}" srcOrd="0" destOrd="0" presId="urn:microsoft.com/office/officeart/2008/layout/LinedList"/>
    <dgm:cxn modelId="{64F70EA9-E0D5-417D-864C-31486F6A85AD}" type="presParOf" srcId="{DC1747FD-EA5B-459F-BCA8-A4B901B6DCE8}" destId="{5CF985C4-2067-4047-BA7D-3E7421B6ADF5}" srcOrd="0" destOrd="0" presId="urn:microsoft.com/office/officeart/2008/layout/LinedList"/>
    <dgm:cxn modelId="{C1B7A34D-530E-47A7-91D7-C800FA9815BF}" type="presParOf" srcId="{DC1747FD-EA5B-459F-BCA8-A4B901B6DCE8}" destId="{D309DAB1-D711-4676-B0C9-9800CF1508A1}" srcOrd="1" destOrd="0" presId="urn:microsoft.com/office/officeart/2008/layout/LinedList"/>
    <dgm:cxn modelId="{2C78FD2D-37D7-4369-91FA-1F840741056F}" type="presParOf" srcId="{D309DAB1-D711-4676-B0C9-9800CF1508A1}" destId="{44949010-F43F-4273-BF25-436505F95A4B}" srcOrd="0" destOrd="0" presId="urn:microsoft.com/office/officeart/2008/layout/LinedList"/>
    <dgm:cxn modelId="{B99417BA-4126-4209-9BEC-18AAB49DC406}" type="presParOf" srcId="{D309DAB1-D711-4676-B0C9-9800CF1508A1}" destId="{75D8827E-E612-4E90-9865-159664BEB206}" srcOrd="1" destOrd="0" presId="urn:microsoft.com/office/officeart/2008/layout/LinedList"/>
    <dgm:cxn modelId="{E02007E7-E1DF-4274-8FE0-6FB3C3A66081}" type="presParOf" srcId="{75D8827E-E612-4E90-9865-159664BEB206}" destId="{4ADF22E8-3100-462E-BD11-86CD665F8D0C}" srcOrd="0" destOrd="0" presId="urn:microsoft.com/office/officeart/2008/layout/LinedList"/>
    <dgm:cxn modelId="{DA0B616F-AE33-46D9-87A4-66944C690BC5}" type="presParOf" srcId="{75D8827E-E612-4E90-9865-159664BEB206}" destId="{E89453A4-B185-47D3-849E-E9CABF201404}" srcOrd="1" destOrd="0" presId="urn:microsoft.com/office/officeart/2008/layout/LinedList"/>
    <dgm:cxn modelId="{F54ADEE6-4C35-4068-B457-06954853783E}" type="presParOf" srcId="{E89453A4-B185-47D3-849E-E9CABF201404}" destId="{464B60E8-6366-42D9-A004-6BC91C48E882}" srcOrd="0" destOrd="0" presId="urn:microsoft.com/office/officeart/2008/layout/LinedList"/>
    <dgm:cxn modelId="{6FF1E083-4F64-4626-A4A1-D1744CE7C88C}" type="presParOf" srcId="{E89453A4-B185-47D3-849E-E9CABF201404}" destId="{84131AAB-2705-453B-9466-179E67A33C0A}" srcOrd="1" destOrd="0" presId="urn:microsoft.com/office/officeart/2008/layout/LinedList"/>
    <dgm:cxn modelId="{15E72954-81A2-41BE-9622-44DB2C7E3C38}" type="presParOf" srcId="{E89453A4-B185-47D3-849E-E9CABF201404}" destId="{5AF543EF-8350-4780-A716-140E37046FB1}" srcOrd="2" destOrd="0" presId="urn:microsoft.com/office/officeart/2008/layout/LinedList"/>
    <dgm:cxn modelId="{8CFAE725-CB2D-458A-BE93-2C98F9523048}" type="presParOf" srcId="{75D8827E-E612-4E90-9865-159664BEB206}" destId="{81DB2667-891F-46F6-87CB-9D0638423E56}" srcOrd="2" destOrd="0" presId="urn:microsoft.com/office/officeart/2008/layout/LinedList"/>
    <dgm:cxn modelId="{2B16B153-A7AB-4CBE-A623-3431AB9DF3CA}" type="presParOf" srcId="{75D8827E-E612-4E90-9865-159664BEB206}" destId="{E0DB8A00-2A7A-4B90-AC2F-B1E0849E1DBE}" srcOrd="3" destOrd="0" presId="urn:microsoft.com/office/officeart/2008/layout/LinedList"/>
    <dgm:cxn modelId="{48B75B82-327E-4C6A-B2A3-5E0777A35954}" type="presParOf" srcId="{75D8827E-E612-4E90-9865-159664BEB206}" destId="{C53C17A6-55AC-4EAA-9EA1-D63E2AAA0025}" srcOrd="4" destOrd="0" presId="urn:microsoft.com/office/officeart/2008/layout/LinedList"/>
    <dgm:cxn modelId="{9D2F8B5F-B814-460B-BD60-72E82C5EDD87}" type="presParOf" srcId="{C53C17A6-55AC-4EAA-9EA1-D63E2AAA0025}" destId="{B4DE0A4A-DE8D-4CA4-A73D-F4986CE47A4E}" srcOrd="0" destOrd="0" presId="urn:microsoft.com/office/officeart/2008/layout/LinedList"/>
    <dgm:cxn modelId="{198CF2CA-7868-4B1A-9C79-7FC025D662C3}" type="presParOf" srcId="{C53C17A6-55AC-4EAA-9EA1-D63E2AAA0025}" destId="{5B07DF82-DC38-4B52-A931-DAA4389F017B}" srcOrd="1" destOrd="0" presId="urn:microsoft.com/office/officeart/2008/layout/LinedList"/>
    <dgm:cxn modelId="{6FC61405-67FA-4EB3-B020-C7F0F8C81DE1}" type="presParOf" srcId="{C53C17A6-55AC-4EAA-9EA1-D63E2AAA0025}" destId="{10DDAC69-CCBF-4A78-814D-67B72EC11F79}" srcOrd="2" destOrd="0" presId="urn:microsoft.com/office/officeart/2008/layout/LinedList"/>
    <dgm:cxn modelId="{C326CF11-ACBF-4EDD-A856-014AE45B9E42}" type="presParOf" srcId="{75D8827E-E612-4E90-9865-159664BEB206}" destId="{6B27170D-1061-408B-8B34-5CBCA78B88AB}" srcOrd="5" destOrd="0" presId="urn:microsoft.com/office/officeart/2008/layout/LinedList"/>
    <dgm:cxn modelId="{DB6FC8BB-5A6D-4145-9947-950247A607E6}" type="presParOf" srcId="{75D8827E-E612-4E90-9865-159664BEB206}" destId="{279E605E-E053-4D98-A68A-BD230BE9CCD2}" srcOrd="6" destOrd="0" presId="urn:microsoft.com/office/officeart/2008/layout/LinedList"/>
    <dgm:cxn modelId="{C4E52D8A-6813-4340-A671-D88E53EE6846}" type="presParOf" srcId="{75D8827E-E612-4E90-9865-159664BEB206}" destId="{65782B8B-C5CC-4EBB-9D1E-7859E80F1BB9}" srcOrd="7" destOrd="0" presId="urn:microsoft.com/office/officeart/2008/layout/LinedList"/>
    <dgm:cxn modelId="{70D3588F-EDF3-4446-BD82-07ADA34DB50F}" type="presParOf" srcId="{65782B8B-C5CC-4EBB-9D1E-7859E80F1BB9}" destId="{8690290D-EA1F-4D6D-9F3C-3D0AB3CD5A1F}" srcOrd="0" destOrd="0" presId="urn:microsoft.com/office/officeart/2008/layout/LinedList"/>
    <dgm:cxn modelId="{7388A15E-8058-4758-BB39-087AF4941A8A}" type="presParOf" srcId="{65782B8B-C5CC-4EBB-9D1E-7859E80F1BB9}" destId="{EBF3146E-A2AB-42BA-A1FD-33AF22DFB1C4}" srcOrd="1" destOrd="0" presId="urn:microsoft.com/office/officeart/2008/layout/LinedList"/>
    <dgm:cxn modelId="{A2307528-666B-47DC-86DC-C747CCC196CA}" type="presParOf" srcId="{65782B8B-C5CC-4EBB-9D1E-7859E80F1BB9}" destId="{1EA10885-9B8A-4B42-93B6-C1B58062C52F}" srcOrd="2" destOrd="0" presId="urn:microsoft.com/office/officeart/2008/layout/LinedList"/>
    <dgm:cxn modelId="{90E2B0D1-04EF-4084-ACA8-25641E7E91EC}" type="presParOf" srcId="{75D8827E-E612-4E90-9865-159664BEB206}" destId="{98DF41B8-5D6A-4631-BC1D-C5063401B9D3}" srcOrd="8" destOrd="0" presId="urn:microsoft.com/office/officeart/2008/layout/LinedList"/>
    <dgm:cxn modelId="{270E6A4C-3EC7-4E60-A06C-32052B2294A8}" type="presParOf" srcId="{75D8827E-E612-4E90-9865-159664BEB206}" destId="{780B34CE-08A1-48D1-9003-65629E08C00F}" srcOrd="9"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A0C0224A-C1E9-4653-8FE2-9A8836151C0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80060EA9-3D16-45FE-98D4-BB4B85EE8530}">
      <dgm:prSet phldrT="[Текст]"/>
      <dgm:spPr/>
      <dgm:t>
        <a:bodyPr/>
        <a:lstStyle/>
        <a:p>
          <a:r>
            <a:rPr lang="uk-UA" b="0" i="0" noProof="0" dirty="0"/>
            <a:t>Заклад працював</a:t>
          </a:r>
          <a:endParaRPr lang="uk-UA" noProof="0" dirty="0"/>
        </a:p>
      </dgm:t>
    </dgm:pt>
    <dgm:pt modelId="{A4B3BCED-B76F-4BB0-9A5D-664C1A81DD09}" type="parTrans" cxnId="{648D65C7-4557-4B50-B0C4-CA5F81D8C5D7}">
      <dgm:prSet/>
      <dgm:spPr/>
      <dgm:t>
        <a:bodyPr/>
        <a:lstStyle/>
        <a:p>
          <a:endParaRPr lang="ru-UA"/>
        </a:p>
      </dgm:t>
    </dgm:pt>
    <dgm:pt modelId="{CDBA8231-51EE-4AC1-BAD5-3D5F004BA37C}" type="sibTrans" cxnId="{648D65C7-4557-4B50-B0C4-CA5F81D8C5D7}">
      <dgm:prSet/>
      <dgm:spPr/>
      <dgm:t>
        <a:bodyPr/>
        <a:lstStyle/>
        <a:p>
          <a:endParaRPr lang="ru-UA"/>
        </a:p>
      </dgm:t>
    </dgm:pt>
    <dgm:pt modelId="{8443DCA0-70AA-4184-883F-2C4E982138DC}">
      <dgm:prSet phldrT="[Текст]" custT="1"/>
      <dgm:spPr/>
      <dgm:t>
        <a:bodyPr/>
        <a:lstStyle/>
        <a:p>
          <a:r>
            <a:rPr lang="uk-UA" sz="4000" b="0" i="0" noProof="0" dirty="0"/>
            <a:t>Інші працівники працювали</a:t>
          </a:r>
          <a:endParaRPr lang="uk-UA" sz="4000" noProof="0" dirty="0"/>
        </a:p>
      </dgm:t>
    </dgm:pt>
    <dgm:pt modelId="{8B05BDA8-D225-460A-98A8-0D989B0A9272}" type="parTrans" cxnId="{D8DA762D-C157-433A-B8D4-CFC1616BC3B1}">
      <dgm:prSet/>
      <dgm:spPr/>
      <dgm:t>
        <a:bodyPr/>
        <a:lstStyle/>
        <a:p>
          <a:endParaRPr lang="ru-UA"/>
        </a:p>
      </dgm:t>
    </dgm:pt>
    <dgm:pt modelId="{D6791F52-43E5-4A16-820C-2DD1818B38FE}" type="sibTrans" cxnId="{D8DA762D-C157-433A-B8D4-CFC1616BC3B1}">
      <dgm:prSet/>
      <dgm:spPr/>
      <dgm:t>
        <a:bodyPr/>
        <a:lstStyle/>
        <a:p>
          <a:endParaRPr lang="ru-UA"/>
        </a:p>
      </dgm:t>
    </dgm:pt>
    <dgm:pt modelId="{D58A9573-D2B2-480F-9ACD-DEF46C9A50CC}">
      <dgm:prSet phldrT="[Текст]"/>
      <dgm:spPr/>
      <dgm:t>
        <a:bodyPr/>
        <a:lstStyle/>
        <a:p>
          <a:r>
            <a:rPr lang="uk-UA" b="0" i="0" noProof="0" dirty="0"/>
            <a:t>Рішення про евакуацію у м. Чернігів не приймалось</a:t>
          </a:r>
          <a:endParaRPr lang="uk-UA" noProof="0" dirty="0"/>
        </a:p>
      </dgm:t>
    </dgm:pt>
    <dgm:pt modelId="{D68A264C-465A-4C47-9C39-92463C872FC8}" type="parTrans" cxnId="{B4ABAF62-8B21-4EBD-BF0B-5700A1291B3D}">
      <dgm:prSet/>
      <dgm:spPr/>
      <dgm:t>
        <a:bodyPr/>
        <a:lstStyle/>
        <a:p>
          <a:endParaRPr lang="ru-UA"/>
        </a:p>
      </dgm:t>
    </dgm:pt>
    <dgm:pt modelId="{993F921A-96D9-43CA-AF83-E1E733EF2FE9}" type="sibTrans" cxnId="{B4ABAF62-8B21-4EBD-BF0B-5700A1291B3D}">
      <dgm:prSet/>
      <dgm:spPr/>
      <dgm:t>
        <a:bodyPr/>
        <a:lstStyle/>
        <a:p>
          <a:endParaRPr lang="ru-UA"/>
        </a:p>
      </dgm:t>
    </dgm:pt>
    <dgm:pt modelId="{8861803B-B188-4646-A940-4168F0577496}" type="pres">
      <dgm:prSet presAssocID="{A0C0224A-C1E9-4653-8FE2-9A8836151C02}" presName="linear" presStyleCnt="0">
        <dgm:presLayoutVars>
          <dgm:animLvl val="lvl"/>
          <dgm:resizeHandles val="exact"/>
        </dgm:presLayoutVars>
      </dgm:prSet>
      <dgm:spPr/>
      <dgm:t>
        <a:bodyPr/>
        <a:lstStyle/>
        <a:p>
          <a:endParaRPr lang="en-US"/>
        </a:p>
      </dgm:t>
    </dgm:pt>
    <dgm:pt modelId="{BA32CA74-C898-4810-8215-DDD291D3907C}" type="pres">
      <dgm:prSet presAssocID="{80060EA9-3D16-45FE-98D4-BB4B85EE8530}" presName="parentText" presStyleLbl="node1" presStyleIdx="0" presStyleCnt="2">
        <dgm:presLayoutVars>
          <dgm:chMax val="0"/>
          <dgm:bulletEnabled val="1"/>
        </dgm:presLayoutVars>
      </dgm:prSet>
      <dgm:spPr/>
      <dgm:t>
        <a:bodyPr/>
        <a:lstStyle/>
        <a:p>
          <a:endParaRPr lang="en-US"/>
        </a:p>
      </dgm:t>
    </dgm:pt>
    <dgm:pt modelId="{F2663DDB-AF79-4774-94A4-303448794070}" type="pres">
      <dgm:prSet presAssocID="{80060EA9-3D16-45FE-98D4-BB4B85EE8530}" presName="childText" presStyleLbl="revTx" presStyleIdx="0" presStyleCnt="1">
        <dgm:presLayoutVars>
          <dgm:bulletEnabled val="1"/>
        </dgm:presLayoutVars>
      </dgm:prSet>
      <dgm:spPr/>
      <dgm:t>
        <a:bodyPr/>
        <a:lstStyle/>
        <a:p>
          <a:endParaRPr lang="en-US"/>
        </a:p>
      </dgm:t>
    </dgm:pt>
    <dgm:pt modelId="{D69BF492-A030-4636-B7E7-C0086D7751C0}" type="pres">
      <dgm:prSet presAssocID="{D58A9573-D2B2-480F-9ACD-DEF46C9A50CC}" presName="parentText" presStyleLbl="node1" presStyleIdx="1" presStyleCnt="2">
        <dgm:presLayoutVars>
          <dgm:chMax val="0"/>
          <dgm:bulletEnabled val="1"/>
        </dgm:presLayoutVars>
      </dgm:prSet>
      <dgm:spPr/>
      <dgm:t>
        <a:bodyPr/>
        <a:lstStyle/>
        <a:p>
          <a:endParaRPr lang="en-US"/>
        </a:p>
      </dgm:t>
    </dgm:pt>
  </dgm:ptLst>
  <dgm:cxnLst>
    <dgm:cxn modelId="{D8DA762D-C157-433A-B8D4-CFC1616BC3B1}" srcId="{80060EA9-3D16-45FE-98D4-BB4B85EE8530}" destId="{8443DCA0-70AA-4184-883F-2C4E982138DC}" srcOrd="0" destOrd="0" parTransId="{8B05BDA8-D225-460A-98A8-0D989B0A9272}" sibTransId="{D6791F52-43E5-4A16-820C-2DD1818B38FE}"/>
    <dgm:cxn modelId="{8A5857A4-0C8D-41DE-A6B3-C0F1AE7A0429}" type="presOf" srcId="{8443DCA0-70AA-4184-883F-2C4E982138DC}" destId="{F2663DDB-AF79-4774-94A4-303448794070}" srcOrd="0" destOrd="0" presId="urn:microsoft.com/office/officeart/2005/8/layout/vList2"/>
    <dgm:cxn modelId="{1CEA8E63-08F9-410C-B9D5-11785AA619AF}" type="presOf" srcId="{A0C0224A-C1E9-4653-8FE2-9A8836151C02}" destId="{8861803B-B188-4646-A940-4168F0577496}" srcOrd="0" destOrd="0" presId="urn:microsoft.com/office/officeart/2005/8/layout/vList2"/>
    <dgm:cxn modelId="{709EF28B-602E-4B80-97EB-BBAB7567F642}" type="presOf" srcId="{D58A9573-D2B2-480F-9ACD-DEF46C9A50CC}" destId="{D69BF492-A030-4636-B7E7-C0086D7751C0}" srcOrd="0" destOrd="0" presId="urn:microsoft.com/office/officeart/2005/8/layout/vList2"/>
    <dgm:cxn modelId="{B4ABAF62-8B21-4EBD-BF0B-5700A1291B3D}" srcId="{A0C0224A-C1E9-4653-8FE2-9A8836151C02}" destId="{D58A9573-D2B2-480F-9ACD-DEF46C9A50CC}" srcOrd="1" destOrd="0" parTransId="{D68A264C-465A-4C47-9C39-92463C872FC8}" sibTransId="{993F921A-96D9-43CA-AF83-E1E733EF2FE9}"/>
    <dgm:cxn modelId="{648D65C7-4557-4B50-B0C4-CA5F81D8C5D7}" srcId="{A0C0224A-C1E9-4653-8FE2-9A8836151C02}" destId="{80060EA9-3D16-45FE-98D4-BB4B85EE8530}" srcOrd="0" destOrd="0" parTransId="{A4B3BCED-B76F-4BB0-9A5D-664C1A81DD09}" sibTransId="{CDBA8231-51EE-4AC1-BAD5-3D5F004BA37C}"/>
    <dgm:cxn modelId="{17BC3CDC-59C3-4886-A1FD-03672C8E201D}" type="presOf" srcId="{80060EA9-3D16-45FE-98D4-BB4B85EE8530}" destId="{BA32CA74-C898-4810-8215-DDD291D3907C}" srcOrd="0" destOrd="0" presId="urn:microsoft.com/office/officeart/2005/8/layout/vList2"/>
    <dgm:cxn modelId="{9AC7C7A2-CEC6-4484-ACDB-26866C05C99A}" type="presParOf" srcId="{8861803B-B188-4646-A940-4168F0577496}" destId="{BA32CA74-C898-4810-8215-DDD291D3907C}" srcOrd="0" destOrd="0" presId="urn:microsoft.com/office/officeart/2005/8/layout/vList2"/>
    <dgm:cxn modelId="{96F5E15F-86A9-44AF-A481-ADBA9194EA64}" type="presParOf" srcId="{8861803B-B188-4646-A940-4168F0577496}" destId="{F2663DDB-AF79-4774-94A4-303448794070}" srcOrd="1" destOrd="0" presId="urn:microsoft.com/office/officeart/2005/8/layout/vList2"/>
    <dgm:cxn modelId="{5F16C589-B235-46E1-B3BB-3AA779B4B456}" type="presParOf" srcId="{8861803B-B188-4646-A940-4168F0577496}" destId="{D69BF492-A030-4636-B7E7-C0086D7751C0}"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445C263F-915C-4719-B803-201518D9C584}"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ru-UA"/>
        </a:p>
      </dgm:t>
    </dgm:pt>
    <dgm:pt modelId="{9D6F1614-B7E3-4166-A033-BEE74A3ECDA3}">
      <dgm:prSet phldrT="[Текст]"/>
      <dgm:spPr/>
      <dgm:t>
        <a:bodyPr/>
        <a:lstStyle/>
        <a:p>
          <a:r>
            <a:rPr lang="uk-UA" noProof="0" dirty="0"/>
            <a:t>У задоволенні позову відмовлено</a:t>
          </a:r>
        </a:p>
      </dgm:t>
    </dgm:pt>
    <dgm:pt modelId="{6AD0B29E-C478-46D5-9AB2-A64CC432B625}" type="parTrans" cxnId="{BC53F2DB-333E-451C-895A-67BCAD89A7A1}">
      <dgm:prSet/>
      <dgm:spPr/>
      <dgm:t>
        <a:bodyPr/>
        <a:lstStyle/>
        <a:p>
          <a:endParaRPr lang="ru-UA"/>
        </a:p>
      </dgm:t>
    </dgm:pt>
    <dgm:pt modelId="{A1F976C2-2487-4E6C-9935-B5ECB5A13F21}" type="sibTrans" cxnId="{BC53F2DB-333E-451C-895A-67BCAD89A7A1}">
      <dgm:prSet/>
      <dgm:spPr/>
      <dgm:t>
        <a:bodyPr/>
        <a:lstStyle/>
        <a:p>
          <a:endParaRPr lang="ru-UA"/>
        </a:p>
      </dgm:t>
    </dgm:pt>
    <dgm:pt modelId="{2AE84C96-F1CC-47F6-8A80-263DF5C071D6}" type="pres">
      <dgm:prSet presAssocID="{445C263F-915C-4719-B803-201518D9C584}" presName="rootnode" presStyleCnt="0">
        <dgm:presLayoutVars>
          <dgm:chMax/>
          <dgm:chPref/>
          <dgm:dir/>
          <dgm:animLvl val="lvl"/>
        </dgm:presLayoutVars>
      </dgm:prSet>
      <dgm:spPr/>
      <dgm:t>
        <a:bodyPr/>
        <a:lstStyle/>
        <a:p>
          <a:endParaRPr lang="en-US"/>
        </a:p>
      </dgm:t>
    </dgm:pt>
    <dgm:pt modelId="{027F436E-F60E-4FEB-A238-9BBAAAA1871E}" type="pres">
      <dgm:prSet presAssocID="{9D6F1614-B7E3-4166-A033-BEE74A3ECDA3}" presName="composite" presStyleCnt="0"/>
      <dgm:spPr/>
    </dgm:pt>
    <dgm:pt modelId="{6E862C84-9419-4108-8F83-43E4E180EB19}" type="pres">
      <dgm:prSet presAssocID="{9D6F1614-B7E3-4166-A033-BEE74A3ECDA3}" presName="LShape" presStyleLbl="alignNode1" presStyleIdx="0" presStyleCnt="1"/>
      <dgm:spPr/>
    </dgm:pt>
    <dgm:pt modelId="{00E99759-AF57-4683-B740-A753C1B8EA17}" type="pres">
      <dgm:prSet presAssocID="{9D6F1614-B7E3-4166-A033-BEE74A3ECDA3}" presName="ParentText" presStyleLbl="revTx" presStyleIdx="0" presStyleCnt="1">
        <dgm:presLayoutVars>
          <dgm:chMax val="0"/>
          <dgm:chPref val="0"/>
          <dgm:bulletEnabled val="1"/>
        </dgm:presLayoutVars>
      </dgm:prSet>
      <dgm:spPr/>
      <dgm:t>
        <a:bodyPr/>
        <a:lstStyle/>
        <a:p>
          <a:endParaRPr lang="en-US"/>
        </a:p>
      </dgm:t>
    </dgm:pt>
  </dgm:ptLst>
  <dgm:cxnLst>
    <dgm:cxn modelId="{BC53F2DB-333E-451C-895A-67BCAD89A7A1}" srcId="{445C263F-915C-4719-B803-201518D9C584}" destId="{9D6F1614-B7E3-4166-A033-BEE74A3ECDA3}" srcOrd="0" destOrd="0" parTransId="{6AD0B29E-C478-46D5-9AB2-A64CC432B625}" sibTransId="{A1F976C2-2487-4E6C-9935-B5ECB5A13F21}"/>
    <dgm:cxn modelId="{B1410066-45E4-40EE-BF42-48BB0DEC7201}" type="presOf" srcId="{445C263F-915C-4719-B803-201518D9C584}" destId="{2AE84C96-F1CC-47F6-8A80-263DF5C071D6}" srcOrd="0" destOrd="0" presId="urn:microsoft.com/office/officeart/2009/3/layout/StepUpProcess"/>
    <dgm:cxn modelId="{65464339-8605-44B0-8320-7026246C83F2}" type="presOf" srcId="{9D6F1614-B7E3-4166-A033-BEE74A3ECDA3}" destId="{00E99759-AF57-4683-B740-A753C1B8EA17}" srcOrd="0" destOrd="0" presId="urn:microsoft.com/office/officeart/2009/3/layout/StepUpProcess"/>
    <dgm:cxn modelId="{F1AD7A59-3B96-4B37-B208-E87FA061C43A}" type="presParOf" srcId="{2AE84C96-F1CC-47F6-8A80-263DF5C071D6}" destId="{027F436E-F60E-4FEB-A238-9BBAAAA1871E}" srcOrd="0" destOrd="0" presId="urn:microsoft.com/office/officeart/2009/3/layout/StepUpProcess"/>
    <dgm:cxn modelId="{96407EF1-6486-4FBA-B577-9DC6E014B637}" type="presParOf" srcId="{027F436E-F60E-4FEB-A238-9BBAAAA1871E}" destId="{6E862C84-9419-4108-8F83-43E4E180EB19}" srcOrd="0" destOrd="0" presId="urn:microsoft.com/office/officeart/2009/3/layout/StepUpProcess"/>
    <dgm:cxn modelId="{B9C760C7-6ED4-48C7-A6C4-7A09F1979210}" type="presParOf" srcId="{027F436E-F60E-4FEB-A238-9BBAAAA1871E}" destId="{00E99759-AF57-4683-B740-A753C1B8EA17}"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50A5FF14-6E91-44FA-A51B-1C31DF6FC79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AA7F129A-39F8-4E37-A51A-8A89915D0C69}">
      <dgm:prSet phldrT="[Текст]"/>
      <dgm:spPr>
        <a:solidFill>
          <a:schemeClr val="accent2">
            <a:lumMod val="20000"/>
            <a:lumOff val="80000"/>
          </a:schemeClr>
        </a:solidFill>
      </dgm:spPr>
      <dgm:t>
        <a:bodyPr vert="vert270"/>
        <a:lstStyle/>
        <a:p>
          <a:pPr algn="ctr"/>
          <a:r>
            <a:rPr lang="uk-UA" dirty="0"/>
            <a:t>Справа про призупинення ТД (КП лісгосп) </a:t>
          </a:r>
        </a:p>
        <a:p>
          <a:pPr algn="ctr"/>
          <a:r>
            <a:rPr lang="ru-RU" b="0" i="0" dirty="0"/>
            <a:t>Справа № </a:t>
          </a:r>
          <a:r>
            <a:rPr lang="ru-UA" b="0" i="0" dirty="0"/>
            <a:t>279/1611/22</a:t>
          </a:r>
          <a:endParaRPr lang="ru-UA" dirty="0"/>
        </a:p>
      </dgm:t>
    </dgm:pt>
    <dgm:pt modelId="{63BF66A6-09F3-4527-88E3-6381FFBE5AD5}" type="parTrans" cxnId="{E76A9518-2FAE-46BA-9C12-6E06DACB0B5D}">
      <dgm:prSet/>
      <dgm:spPr/>
      <dgm:t>
        <a:bodyPr/>
        <a:lstStyle/>
        <a:p>
          <a:endParaRPr lang="ru-UA"/>
        </a:p>
      </dgm:t>
    </dgm:pt>
    <dgm:pt modelId="{BA214040-64A2-4A16-B651-4D733AFFE4C6}" type="sibTrans" cxnId="{E76A9518-2FAE-46BA-9C12-6E06DACB0B5D}">
      <dgm:prSet/>
      <dgm:spPr/>
      <dgm:t>
        <a:bodyPr/>
        <a:lstStyle/>
        <a:p>
          <a:endParaRPr lang="ru-UA"/>
        </a:p>
      </dgm:t>
    </dgm:pt>
    <dgm:pt modelId="{8DAEB9DC-3CB1-4F23-B2DB-CA985410F4C2}">
      <dgm:prSet phldrT="[Текст]"/>
      <dgm:spPr/>
      <dgm:t>
        <a:bodyPr/>
        <a:lstStyle/>
        <a:p>
          <a:r>
            <a:rPr lang="uk-UA" dirty="0"/>
            <a:t>Призупинено Трудовий </a:t>
          </a:r>
          <a:r>
            <a:rPr lang="uk-UA" noProof="0" dirty="0"/>
            <a:t>договір </a:t>
          </a:r>
          <a:r>
            <a:rPr lang="uk-UA" b="0" i="0" noProof="0" dirty="0"/>
            <a:t>у зв`язку з військовою агресією проти України, що виключає можливість надання та виконання роботи з метою збереження життя та здоров`я працівника </a:t>
          </a:r>
          <a:endParaRPr lang="uk-UA" noProof="0" dirty="0"/>
        </a:p>
      </dgm:t>
    </dgm:pt>
    <dgm:pt modelId="{94297B8E-4E83-4E2C-881D-C820F5DD3E9A}" type="parTrans" cxnId="{CDA2D0D8-F605-4EA0-B12C-74EB4870C248}">
      <dgm:prSet/>
      <dgm:spPr/>
      <dgm:t>
        <a:bodyPr/>
        <a:lstStyle/>
        <a:p>
          <a:endParaRPr lang="ru-UA"/>
        </a:p>
      </dgm:t>
    </dgm:pt>
    <dgm:pt modelId="{E61B12C0-DD26-4203-838C-DC3BBEAF4A3F}" type="sibTrans" cxnId="{CDA2D0D8-F605-4EA0-B12C-74EB4870C248}">
      <dgm:prSet/>
      <dgm:spPr/>
      <dgm:t>
        <a:bodyPr/>
        <a:lstStyle/>
        <a:p>
          <a:endParaRPr lang="ru-UA"/>
        </a:p>
      </dgm:t>
    </dgm:pt>
    <dgm:pt modelId="{B2A23F94-A4EC-4C97-BB35-F92B83B780A0}">
      <dgm:prSet phldrT="[Текст]"/>
      <dgm:spPr/>
      <dgm:t>
        <a:bodyPr/>
        <a:lstStyle/>
        <a:p>
          <a:r>
            <a:rPr lang="uk-UA" b="0" i="0" noProof="0" dirty="0"/>
            <a:t>Наказ не містить посилання на підстави, що виключають можливість обом сторонам трудових відносин виконувати обов`язки, передбачені трудовим договором, інформації про причини призупинення та умови відновлення дії трудового договору</a:t>
          </a:r>
        </a:p>
      </dgm:t>
    </dgm:pt>
    <dgm:pt modelId="{8F6F6E59-92AB-479B-BB5F-0F775359712A}" type="parTrans" cxnId="{D479ABDE-EDBA-46B3-99F9-DF21A141CAF5}">
      <dgm:prSet/>
      <dgm:spPr/>
      <dgm:t>
        <a:bodyPr/>
        <a:lstStyle/>
        <a:p>
          <a:endParaRPr lang="ru-UA"/>
        </a:p>
      </dgm:t>
    </dgm:pt>
    <dgm:pt modelId="{41A893FE-0153-48B5-A0B0-D09CE5430403}" type="sibTrans" cxnId="{D479ABDE-EDBA-46B3-99F9-DF21A141CAF5}">
      <dgm:prSet/>
      <dgm:spPr/>
      <dgm:t>
        <a:bodyPr/>
        <a:lstStyle/>
        <a:p>
          <a:endParaRPr lang="ru-UA"/>
        </a:p>
      </dgm:t>
    </dgm:pt>
    <dgm:pt modelId="{27F56B54-934B-4E3A-8445-FA26BB3CE89C}">
      <dgm:prSet phldrT="[Текст]"/>
      <dgm:spPr/>
      <dgm:t>
        <a:bodyPr/>
        <a:lstStyle/>
        <a:p>
          <a:r>
            <a:rPr lang="uk-UA" b="0" i="0" noProof="0" dirty="0"/>
            <a:t>В обході № 3 </a:t>
          </a:r>
          <a:r>
            <a:rPr lang="uk-UA" b="0" i="0" noProof="0" dirty="0" err="1"/>
            <a:t>Ушомирського</a:t>
          </a:r>
          <a:r>
            <a:rPr lang="uk-UA" b="0" i="0" noProof="0" dirty="0"/>
            <a:t> лісництва продовжуються виконуватися роботи з рубки лісових насаджень згідно лісорубного квитка № 002341, що підтверджує можливість виконання робіт на обході. Також цей обхід знаходиться в безпосередній близькості до військового </a:t>
          </a:r>
          <a:r>
            <a:rPr lang="uk-UA" b="0" i="0" noProof="0" dirty="0" err="1"/>
            <a:t>об"єкту</a:t>
          </a:r>
          <a:r>
            <a:rPr lang="uk-UA" b="0" i="0" noProof="0" dirty="0"/>
            <a:t> (військова частина), який неодноразово піддавався ракетним та бомбовим ударам</a:t>
          </a:r>
          <a:endParaRPr lang="uk-UA" noProof="0" dirty="0"/>
        </a:p>
      </dgm:t>
    </dgm:pt>
    <dgm:pt modelId="{A57B0342-F409-4F18-9C32-BE569B2CEBC4}" type="parTrans" cxnId="{B35C8C81-F4A0-437D-A283-88248B7F72CC}">
      <dgm:prSet/>
      <dgm:spPr/>
      <dgm:t>
        <a:bodyPr/>
        <a:lstStyle/>
        <a:p>
          <a:endParaRPr lang="ru-UA"/>
        </a:p>
      </dgm:t>
    </dgm:pt>
    <dgm:pt modelId="{82F004CF-4B6A-4BA8-900D-93B379CE2B17}" type="sibTrans" cxnId="{B35C8C81-F4A0-437D-A283-88248B7F72CC}">
      <dgm:prSet/>
      <dgm:spPr/>
      <dgm:t>
        <a:bodyPr/>
        <a:lstStyle/>
        <a:p>
          <a:endParaRPr lang="ru-UA"/>
        </a:p>
      </dgm:t>
    </dgm:pt>
    <dgm:pt modelId="{DC1747FD-EA5B-459F-BCA8-A4B901B6DCE8}" type="pres">
      <dgm:prSet presAssocID="{50A5FF14-6E91-44FA-A51B-1C31DF6FC79F}" presName="vert0" presStyleCnt="0">
        <dgm:presLayoutVars>
          <dgm:dir/>
          <dgm:animOne val="branch"/>
          <dgm:animLvl val="lvl"/>
        </dgm:presLayoutVars>
      </dgm:prSet>
      <dgm:spPr/>
      <dgm:t>
        <a:bodyPr/>
        <a:lstStyle/>
        <a:p>
          <a:endParaRPr lang="en-US"/>
        </a:p>
      </dgm:t>
    </dgm:pt>
    <dgm:pt modelId="{5CF985C4-2067-4047-BA7D-3E7421B6ADF5}" type="pres">
      <dgm:prSet presAssocID="{AA7F129A-39F8-4E37-A51A-8A89915D0C69}" presName="thickLine" presStyleLbl="alignNode1" presStyleIdx="0" presStyleCnt="1"/>
      <dgm:spPr/>
    </dgm:pt>
    <dgm:pt modelId="{D309DAB1-D711-4676-B0C9-9800CF1508A1}" type="pres">
      <dgm:prSet presAssocID="{AA7F129A-39F8-4E37-A51A-8A89915D0C69}" presName="horz1" presStyleCnt="0"/>
      <dgm:spPr/>
    </dgm:pt>
    <dgm:pt modelId="{44949010-F43F-4273-BF25-436505F95A4B}" type="pres">
      <dgm:prSet presAssocID="{AA7F129A-39F8-4E37-A51A-8A89915D0C69}" presName="tx1" presStyleLbl="revTx" presStyleIdx="0" presStyleCnt="4" custScaleX="57921"/>
      <dgm:spPr/>
      <dgm:t>
        <a:bodyPr/>
        <a:lstStyle/>
        <a:p>
          <a:endParaRPr lang="en-US"/>
        </a:p>
      </dgm:t>
    </dgm:pt>
    <dgm:pt modelId="{75D8827E-E612-4E90-9865-159664BEB206}" type="pres">
      <dgm:prSet presAssocID="{AA7F129A-39F8-4E37-A51A-8A89915D0C69}" presName="vert1" presStyleCnt="0"/>
      <dgm:spPr/>
    </dgm:pt>
    <dgm:pt modelId="{4ADF22E8-3100-462E-BD11-86CD665F8D0C}" type="pres">
      <dgm:prSet presAssocID="{8DAEB9DC-3CB1-4F23-B2DB-CA985410F4C2}" presName="vertSpace2a" presStyleCnt="0"/>
      <dgm:spPr/>
    </dgm:pt>
    <dgm:pt modelId="{E89453A4-B185-47D3-849E-E9CABF201404}" type="pres">
      <dgm:prSet presAssocID="{8DAEB9DC-3CB1-4F23-B2DB-CA985410F4C2}" presName="horz2" presStyleCnt="0"/>
      <dgm:spPr/>
    </dgm:pt>
    <dgm:pt modelId="{464B60E8-6366-42D9-A004-6BC91C48E882}" type="pres">
      <dgm:prSet presAssocID="{8DAEB9DC-3CB1-4F23-B2DB-CA985410F4C2}" presName="horzSpace2" presStyleCnt="0"/>
      <dgm:spPr/>
    </dgm:pt>
    <dgm:pt modelId="{84131AAB-2705-453B-9466-179E67A33C0A}" type="pres">
      <dgm:prSet presAssocID="{8DAEB9DC-3CB1-4F23-B2DB-CA985410F4C2}" presName="tx2" presStyleLbl="revTx" presStyleIdx="1" presStyleCnt="4"/>
      <dgm:spPr/>
      <dgm:t>
        <a:bodyPr/>
        <a:lstStyle/>
        <a:p>
          <a:endParaRPr lang="en-US"/>
        </a:p>
      </dgm:t>
    </dgm:pt>
    <dgm:pt modelId="{5AF543EF-8350-4780-A716-140E37046FB1}" type="pres">
      <dgm:prSet presAssocID="{8DAEB9DC-3CB1-4F23-B2DB-CA985410F4C2}" presName="vert2" presStyleCnt="0"/>
      <dgm:spPr/>
    </dgm:pt>
    <dgm:pt modelId="{81DB2667-891F-46F6-87CB-9D0638423E56}" type="pres">
      <dgm:prSet presAssocID="{8DAEB9DC-3CB1-4F23-B2DB-CA985410F4C2}" presName="thinLine2b" presStyleLbl="callout" presStyleIdx="0" presStyleCnt="3"/>
      <dgm:spPr/>
    </dgm:pt>
    <dgm:pt modelId="{E0DB8A00-2A7A-4B90-AC2F-B1E0849E1DBE}" type="pres">
      <dgm:prSet presAssocID="{8DAEB9DC-3CB1-4F23-B2DB-CA985410F4C2}" presName="vertSpace2b" presStyleCnt="0"/>
      <dgm:spPr/>
    </dgm:pt>
    <dgm:pt modelId="{C53C17A6-55AC-4EAA-9EA1-D63E2AAA0025}" type="pres">
      <dgm:prSet presAssocID="{B2A23F94-A4EC-4C97-BB35-F92B83B780A0}" presName="horz2" presStyleCnt="0"/>
      <dgm:spPr/>
    </dgm:pt>
    <dgm:pt modelId="{B4DE0A4A-DE8D-4CA4-A73D-F4986CE47A4E}" type="pres">
      <dgm:prSet presAssocID="{B2A23F94-A4EC-4C97-BB35-F92B83B780A0}" presName="horzSpace2" presStyleCnt="0"/>
      <dgm:spPr/>
    </dgm:pt>
    <dgm:pt modelId="{5B07DF82-DC38-4B52-A931-DAA4389F017B}" type="pres">
      <dgm:prSet presAssocID="{B2A23F94-A4EC-4C97-BB35-F92B83B780A0}" presName="tx2" presStyleLbl="revTx" presStyleIdx="2" presStyleCnt="4"/>
      <dgm:spPr/>
      <dgm:t>
        <a:bodyPr/>
        <a:lstStyle/>
        <a:p>
          <a:endParaRPr lang="en-US"/>
        </a:p>
      </dgm:t>
    </dgm:pt>
    <dgm:pt modelId="{10DDAC69-CCBF-4A78-814D-67B72EC11F79}" type="pres">
      <dgm:prSet presAssocID="{B2A23F94-A4EC-4C97-BB35-F92B83B780A0}" presName="vert2" presStyleCnt="0"/>
      <dgm:spPr/>
    </dgm:pt>
    <dgm:pt modelId="{6B27170D-1061-408B-8B34-5CBCA78B88AB}" type="pres">
      <dgm:prSet presAssocID="{B2A23F94-A4EC-4C97-BB35-F92B83B780A0}" presName="thinLine2b" presStyleLbl="callout" presStyleIdx="1" presStyleCnt="3"/>
      <dgm:spPr/>
    </dgm:pt>
    <dgm:pt modelId="{279E605E-E053-4D98-A68A-BD230BE9CCD2}" type="pres">
      <dgm:prSet presAssocID="{B2A23F94-A4EC-4C97-BB35-F92B83B780A0}" presName="vertSpace2b" presStyleCnt="0"/>
      <dgm:spPr/>
    </dgm:pt>
    <dgm:pt modelId="{65782B8B-C5CC-4EBB-9D1E-7859E80F1BB9}" type="pres">
      <dgm:prSet presAssocID="{27F56B54-934B-4E3A-8445-FA26BB3CE89C}" presName="horz2" presStyleCnt="0"/>
      <dgm:spPr/>
    </dgm:pt>
    <dgm:pt modelId="{8690290D-EA1F-4D6D-9F3C-3D0AB3CD5A1F}" type="pres">
      <dgm:prSet presAssocID="{27F56B54-934B-4E3A-8445-FA26BB3CE89C}" presName="horzSpace2" presStyleCnt="0"/>
      <dgm:spPr/>
    </dgm:pt>
    <dgm:pt modelId="{EBF3146E-A2AB-42BA-A1FD-33AF22DFB1C4}" type="pres">
      <dgm:prSet presAssocID="{27F56B54-934B-4E3A-8445-FA26BB3CE89C}" presName="tx2" presStyleLbl="revTx" presStyleIdx="3" presStyleCnt="4"/>
      <dgm:spPr/>
      <dgm:t>
        <a:bodyPr/>
        <a:lstStyle/>
        <a:p>
          <a:endParaRPr lang="en-US"/>
        </a:p>
      </dgm:t>
    </dgm:pt>
    <dgm:pt modelId="{1EA10885-9B8A-4B42-93B6-C1B58062C52F}" type="pres">
      <dgm:prSet presAssocID="{27F56B54-934B-4E3A-8445-FA26BB3CE89C}" presName="vert2" presStyleCnt="0"/>
      <dgm:spPr/>
    </dgm:pt>
    <dgm:pt modelId="{98DF41B8-5D6A-4631-BC1D-C5063401B9D3}" type="pres">
      <dgm:prSet presAssocID="{27F56B54-934B-4E3A-8445-FA26BB3CE89C}" presName="thinLine2b" presStyleLbl="callout" presStyleIdx="2" presStyleCnt="3"/>
      <dgm:spPr/>
    </dgm:pt>
    <dgm:pt modelId="{780B34CE-08A1-48D1-9003-65629E08C00F}" type="pres">
      <dgm:prSet presAssocID="{27F56B54-934B-4E3A-8445-FA26BB3CE89C}" presName="vertSpace2b" presStyleCnt="0"/>
      <dgm:spPr/>
    </dgm:pt>
  </dgm:ptLst>
  <dgm:cxnLst>
    <dgm:cxn modelId="{D479ABDE-EDBA-46B3-99F9-DF21A141CAF5}" srcId="{AA7F129A-39F8-4E37-A51A-8A89915D0C69}" destId="{B2A23F94-A4EC-4C97-BB35-F92B83B780A0}" srcOrd="1" destOrd="0" parTransId="{8F6F6E59-92AB-479B-BB5F-0F775359712A}" sibTransId="{41A893FE-0153-48B5-A0B0-D09CE5430403}"/>
    <dgm:cxn modelId="{12AC4C54-8688-4C2D-88A7-1E91D4B00D78}" type="presOf" srcId="{27F56B54-934B-4E3A-8445-FA26BB3CE89C}" destId="{EBF3146E-A2AB-42BA-A1FD-33AF22DFB1C4}" srcOrd="0" destOrd="0" presId="urn:microsoft.com/office/officeart/2008/layout/LinedList"/>
    <dgm:cxn modelId="{CDA2D0D8-F605-4EA0-B12C-74EB4870C248}" srcId="{AA7F129A-39F8-4E37-A51A-8A89915D0C69}" destId="{8DAEB9DC-3CB1-4F23-B2DB-CA985410F4C2}" srcOrd="0" destOrd="0" parTransId="{94297B8E-4E83-4E2C-881D-C820F5DD3E9A}" sibTransId="{E61B12C0-DD26-4203-838C-DC3BBEAF4A3F}"/>
    <dgm:cxn modelId="{5BD7F51D-51B0-491D-9A7E-62E915CB135A}" type="presOf" srcId="{B2A23F94-A4EC-4C97-BB35-F92B83B780A0}" destId="{5B07DF82-DC38-4B52-A931-DAA4389F017B}" srcOrd="0" destOrd="0" presId="urn:microsoft.com/office/officeart/2008/layout/LinedList"/>
    <dgm:cxn modelId="{0E8C992E-7BCF-4AF3-B86C-BD429208E5B3}" type="presOf" srcId="{50A5FF14-6E91-44FA-A51B-1C31DF6FC79F}" destId="{DC1747FD-EA5B-459F-BCA8-A4B901B6DCE8}" srcOrd="0" destOrd="0" presId="urn:microsoft.com/office/officeart/2008/layout/LinedList"/>
    <dgm:cxn modelId="{B92730E8-BBA6-4CC4-9228-702B64AABD1D}" type="presOf" srcId="{AA7F129A-39F8-4E37-A51A-8A89915D0C69}" destId="{44949010-F43F-4273-BF25-436505F95A4B}" srcOrd="0" destOrd="0" presId="urn:microsoft.com/office/officeart/2008/layout/LinedList"/>
    <dgm:cxn modelId="{E76A9518-2FAE-46BA-9C12-6E06DACB0B5D}" srcId="{50A5FF14-6E91-44FA-A51B-1C31DF6FC79F}" destId="{AA7F129A-39F8-4E37-A51A-8A89915D0C69}" srcOrd="0" destOrd="0" parTransId="{63BF66A6-09F3-4527-88E3-6381FFBE5AD5}" sibTransId="{BA214040-64A2-4A16-B651-4D733AFFE4C6}"/>
    <dgm:cxn modelId="{B35C8C81-F4A0-437D-A283-88248B7F72CC}" srcId="{AA7F129A-39F8-4E37-A51A-8A89915D0C69}" destId="{27F56B54-934B-4E3A-8445-FA26BB3CE89C}" srcOrd="2" destOrd="0" parTransId="{A57B0342-F409-4F18-9C32-BE569B2CEBC4}" sibTransId="{82F004CF-4B6A-4BA8-900D-93B379CE2B17}"/>
    <dgm:cxn modelId="{0D03DDB4-6575-47F9-AE6A-C6E9F789A458}" type="presOf" srcId="{8DAEB9DC-3CB1-4F23-B2DB-CA985410F4C2}" destId="{84131AAB-2705-453B-9466-179E67A33C0A}" srcOrd="0" destOrd="0" presId="urn:microsoft.com/office/officeart/2008/layout/LinedList"/>
    <dgm:cxn modelId="{64F70EA9-E0D5-417D-864C-31486F6A85AD}" type="presParOf" srcId="{DC1747FD-EA5B-459F-BCA8-A4B901B6DCE8}" destId="{5CF985C4-2067-4047-BA7D-3E7421B6ADF5}" srcOrd="0" destOrd="0" presId="urn:microsoft.com/office/officeart/2008/layout/LinedList"/>
    <dgm:cxn modelId="{C1B7A34D-530E-47A7-91D7-C800FA9815BF}" type="presParOf" srcId="{DC1747FD-EA5B-459F-BCA8-A4B901B6DCE8}" destId="{D309DAB1-D711-4676-B0C9-9800CF1508A1}" srcOrd="1" destOrd="0" presId="urn:microsoft.com/office/officeart/2008/layout/LinedList"/>
    <dgm:cxn modelId="{2C78FD2D-37D7-4369-91FA-1F840741056F}" type="presParOf" srcId="{D309DAB1-D711-4676-B0C9-9800CF1508A1}" destId="{44949010-F43F-4273-BF25-436505F95A4B}" srcOrd="0" destOrd="0" presId="urn:microsoft.com/office/officeart/2008/layout/LinedList"/>
    <dgm:cxn modelId="{B99417BA-4126-4209-9BEC-18AAB49DC406}" type="presParOf" srcId="{D309DAB1-D711-4676-B0C9-9800CF1508A1}" destId="{75D8827E-E612-4E90-9865-159664BEB206}" srcOrd="1" destOrd="0" presId="urn:microsoft.com/office/officeart/2008/layout/LinedList"/>
    <dgm:cxn modelId="{E02007E7-E1DF-4274-8FE0-6FB3C3A66081}" type="presParOf" srcId="{75D8827E-E612-4E90-9865-159664BEB206}" destId="{4ADF22E8-3100-462E-BD11-86CD665F8D0C}" srcOrd="0" destOrd="0" presId="urn:microsoft.com/office/officeart/2008/layout/LinedList"/>
    <dgm:cxn modelId="{DA0B616F-AE33-46D9-87A4-66944C690BC5}" type="presParOf" srcId="{75D8827E-E612-4E90-9865-159664BEB206}" destId="{E89453A4-B185-47D3-849E-E9CABF201404}" srcOrd="1" destOrd="0" presId="urn:microsoft.com/office/officeart/2008/layout/LinedList"/>
    <dgm:cxn modelId="{F54ADEE6-4C35-4068-B457-06954853783E}" type="presParOf" srcId="{E89453A4-B185-47D3-849E-E9CABF201404}" destId="{464B60E8-6366-42D9-A004-6BC91C48E882}" srcOrd="0" destOrd="0" presId="urn:microsoft.com/office/officeart/2008/layout/LinedList"/>
    <dgm:cxn modelId="{6FF1E083-4F64-4626-A4A1-D1744CE7C88C}" type="presParOf" srcId="{E89453A4-B185-47D3-849E-E9CABF201404}" destId="{84131AAB-2705-453B-9466-179E67A33C0A}" srcOrd="1" destOrd="0" presId="urn:microsoft.com/office/officeart/2008/layout/LinedList"/>
    <dgm:cxn modelId="{15E72954-81A2-41BE-9622-44DB2C7E3C38}" type="presParOf" srcId="{E89453A4-B185-47D3-849E-E9CABF201404}" destId="{5AF543EF-8350-4780-A716-140E37046FB1}" srcOrd="2" destOrd="0" presId="urn:microsoft.com/office/officeart/2008/layout/LinedList"/>
    <dgm:cxn modelId="{8CFAE725-CB2D-458A-BE93-2C98F9523048}" type="presParOf" srcId="{75D8827E-E612-4E90-9865-159664BEB206}" destId="{81DB2667-891F-46F6-87CB-9D0638423E56}" srcOrd="2" destOrd="0" presId="urn:microsoft.com/office/officeart/2008/layout/LinedList"/>
    <dgm:cxn modelId="{2B16B153-A7AB-4CBE-A623-3431AB9DF3CA}" type="presParOf" srcId="{75D8827E-E612-4E90-9865-159664BEB206}" destId="{E0DB8A00-2A7A-4B90-AC2F-B1E0849E1DBE}" srcOrd="3" destOrd="0" presId="urn:microsoft.com/office/officeart/2008/layout/LinedList"/>
    <dgm:cxn modelId="{48B75B82-327E-4C6A-B2A3-5E0777A35954}" type="presParOf" srcId="{75D8827E-E612-4E90-9865-159664BEB206}" destId="{C53C17A6-55AC-4EAA-9EA1-D63E2AAA0025}" srcOrd="4" destOrd="0" presId="urn:microsoft.com/office/officeart/2008/layout/LinedList"/>
    <dgm:cxn modelId="{9D2F8B5F-B814-460B-BD60-72E82C5EDD87}" type="presParOf" srcId="{C53C17A6-55AC-4EAA-9EA1-D63E2AAA0025}" destId="{B4DE0A4A-DE8D-4CA4-A73D-F4986CE47A4E}" srcOrd="0" destOrd="0" presId="urn:microsoft.com/office/officeart/2008/layout/LinedList"/>
    <dgm:cxn modelId="{198CF2CA-7868-4B1A-9C79-7FC025D662C3}" type="presParOf" srcId="{C53C17A6-55AC-4EAA-9EA1-D63E2AAA0025}" destId="{5B07DF82-DC38-4B52-A931-DAA4389F017B}" srcOrd="1" destOrd="0" presId="urn:microsoft.com/office/officeart/2008/layout/LinedList"/>
    <dgm:cxn modelId="{6FC61405-67FA-4EB3-B020-C7F0F8C81DE1}" type="presParOf" srcId="{C53C17A6-55AC-4EAA-9EA1-D63E2AAA0025}" destId="{10DDAC69-CCBF-4A78-814D-67B72EC11F79}" srcOrd="2" destOrd="0" presId="urn:microsoft.com/office/officeart/2008/layout/LinedList"/>
    <dgm:cxn modelId="{C326CF11-ACBF-4EDD-A856-014AE45B9E42}" type="presParOf" srcId="{75D8827E-E612-4E90-9865-159664BEB206}" destId="{6B27170D-1061-408B-8B34-5CBCA78B88AB}" srcOrd="5" destOrd="0" presId="urn:microsoft.com/office/officeart/2008/layout/LinedList"/>
    <dgm:cxn modelId="{DB6FC8BB-5A6D-4145-9947-950247A607E6}" type="presParOf" srcId="{75D8827E-E612-4E90-9865-159664BEB206}" destId="{279E605E-E053-4D98-A68A-BD230BE9CCD2}" srcOrd="6" destOrd="0" presId="urn:microsoft.com/office/officeart/2008/layout/LinedList"/>
    <dgm:cxn modelId="{C4E52D8A-6813-4340-A671-D88E53EE6846}" type="presParOf" srcId="{75D8827E-E612-4E90-9865-159664BEB206}" destId="{65782B8B-C5CC-4EBB-9D1E-7859E80F1BB9}" srcOrd="7" destOrd="0" presId="urn:microsoft.com/office/officeart/2008/layout/LinedList"/>
    <dgm:cxn modelId="{70D3588F-EDF3-4446-BD82-07ADA34DB50F}" type="presParOf" srcId="{65782B8B-C5CC-4EBB-9D1E-7859E80F1BB9}" destId="{8690290D-EA1F-4D6D-9F3C-3D0AB3CD5A1F}" srcOrd="0" destOrd="0" presId="urn:microsoft.com/office/officeart/2008/layout/LinedList"/>
    <dgm:cxn modelId="{7388A15E-8058-4758-BB39-087AF4941A8A}" type="presParOf" srcId="{65782B8B-C5CC-4EBB-9D1E-7859E80F1BB9}" destId="{EBF3146E-A2AB-42BA-A1FD-33AF22DFB1C4}" srcOrd="1" destOrd="0" presId="urn:microsoft.com/office/officeart/2008/layout/LinedList"/>
    <dgm:cxn modelId="{A2307528-666B-47DC-86DC-C747CCC196CA}" type="presParOf" srcId="{65782B8B-C5CC-4EBB-9D1E-7859E80F1BB9}" destId="{1EA10885-9B8A-4B42-93B6-C1B58062C52F}" srcOrd="2" destOrd="0" presId="urn:microsoft.com/office/officeart/2008/layout/LinedList"/>
    <dgm:cxn modelId="{90E2B0D1-04EF-4084-ACA8-25641E7E91EC}" type="presParOf" srcId="{75D8827E-E612-4E90-9865-159664BEB206}" destId="{98DF41B8-5D6A-4631-BC1D-C5063401B9D3}" srcOrd="8" destOrd="0" presId="urn:microsoft.com/office/officeart/2008/layout/LinedList"/>
    <dgm:cxn modelId="{270E6A4C-3EC7-4E60-A06C-32052B2294A8}" type="presParOf" srcId="{75D8827E-E612-4E90-9865-159664BEB206}" destId="{780B34CE-08A1-48D1-9003-65629E08C00F}" srcOrd="9"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A0C0224A-C1E9-4653-8FE2-9A8836151C0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80060EA9-3D16-45FE-98D4-BB4B85EE8530}">
      <dgm:prSet phldrT="[Текст]"/>
      <dgm:spPr/>
      <dgm:t>
        <a:bodyPr/>
        <a:lstStyle/>
        <a:p>
          <a:r>
            <a:rPr lang="uk-UA" b="0" i="0" noProof="0" dirty="0">
              <a:solidFill>
                <a:schemeClr val="tx1"/>
              </a:solidFill>
            </a:rPr>
            <a:t>В умовах воєнного або надзвичайного стану можуть встановлюватися окремі обмеження прав і свобод із зазначенням строку дії цих обмежень (ст. 64 КУ)</a:t>
          </a:r>
          <a:endParaRPr lang="uk-UA" noProof="0" dirty="0">
            <a:solidFill>
              <a:schemeClr val="tx1"/>
            </a:solidFill>
          </a:endParaRPr>
        </a:p>
      </dgm:t>
    </dgm:pt>
    <dgm:pt modelId="{A4B3BCED-B76F-4BB0-9A5D-664C1A81DD09}" type="parTrans" cxnId="{648D65C7-4557-4B50-B0C4-CA5F81D8C5D7}">
      <dgm:prSet/>
      <dgm:spPr/>
      <dgm:t>
        <a:bodyPr/>
        <a:lstStyle/>
        <a:p>
          <a:endParaRPr lang="ru-UA"/>
        </a:p>
      </dgm:t>
    </dgm:pt>
    <dgm:pt modelId="{CDBA8231-51EE-4AC1-BAD5-3D5F004BA37C}" type="sibTrans" cxnId="{648D65C7-4557-4B50-B0C4-CA5F81D8C5D7}">
      <dgm:prSet/>
      <dgm:spPr/>
      <dgm:t>
        <a:bodyPr/>
        <a:lstStyle/>
        <a:p>
          <a:endParaRPr lang="ru-UA"/>
        </a:p>
      </dgm:t>
    </dgm:pt>
    <dgm:pt modelId="{8443DCA0-70AA-4184-883F-2C4E982138DC}">
      <dgm:prSet phldrT="[Текст]" custT="1"/>
      <dgm:spPr/>
      <dgm:t>
        <a:bodyPr/>
        <a:lstStyle/>
        <a:p>
          <a:r>
            <a:rPr lang="uk-UA" sz="4000" b="0" i="0" noProof="0" dirty="0"/>
            <a:t>Призупинення дії трудового договору - це тимчасове припинення роботодавцем забезпечення працівника роботою і тимчасове припинення працівником виконання роботи за укладеним трудовим договором. Дія трудового договору може бути призупинена у зв`язку з військовою агресією проти України, що виключає можливість надання та виконання роботи. </a:t>
          </a:r>
          <a:endParaRPr lang="uk-UA" sz="4000" noProof="0" dirty="0"/>
        </a:p>
      </dgm:t>
    </dgm:pt>
    <dgm:pt modelId="{8B05BDA8-D225-460A-98A8-0D989B0A9272}" type="parTrans" cxnId="{D8DA762D-C157-433A-B8D4-CFC1616BC3B1}">
      <dgm:prSet/>
      <dgm:spPr/>
      <dgm:t>
        <a:bodyPr/>
        <a:lstStyle/>
        <a:p>
          <a:endParaRPr lang="ru-UA"/>
        </a:p>
      </dgm:t>
    </dgm:pt>
    <dgm:pt modelId="{D6791F52-43E5-4A16-820C-2DD1818B38FE}" type="sibTrans" cxnId="{D8DA762D-C157-433A-B8D4-CFC1616BC3B1}">
      <dgm:prSet/>
      <dgm:spPr/>
      <dgm:t>
        <a:bodyPr/>
        <a:lstStyle/>
        <a:p>
          <a:endParaRPr lang="ru-UA"/>
        </a:p>
      </dgm:t>
    </dgm:pt>
    <dgm:pt modelId="{D58A9573-D2B2-480F-9ACD-DEF46C9A50CC}">
      <dgm:prSet phldrT="[Текст]"/>
      <dgm:spPr/>
      <dgm:t>
        <a:bodyPr/>
        <a:lstStyle/>
        <a:p>
          <a:r>
            <a:rPr lang="uk-UA" b="1" i="0" noProof="0" dirty="0">
              <a:solidFill>
                <a:schemeClr val="tx1"/>
              </a:solidFill>
            </a:rPr>
            <a:t>Простій не є тотожним поняттям призупиненню трудового договору, оскільки підставою для призупинення дії трудового договору є відсутність роботи або відсутність її виконання працівником лише під час воєнного стану.</a:t>
          </a:r>
          <a:endParaRPr lang="uk-UA" b="1" noProof="0" dirty="0">
            <a:solidFill>
              <a:schemeClr val="tx1"/>
            </a:solidFill>
          </a:endParaRPr>
        </a:p>
      </dgm:t>
    </dgm:pt>
    <dgm:pt modelId="{D68A264C-465A-4C47-9C39-92463C872FC8}" type="parTrans" cxnId="{B4ABAF62-8B21-4EBD-BF0B-5700A1291B3D}">
      <dgm:prSet/>
      <dgm:spPr/>
      <dgm:t>
        <a:bodyPr/>
        <a:lstStyle/>
        <a:p>
          <a:endParaRPr lang="ru-UA"/>
        </a:p>
      </dgm:t>
    </dgm:pt>
    <dgm:pt modelId="{993F921A-96D9-43CA-AF83-E1E733EF2FE9}" type="sibTrans" cxnId="{B4ABAF62-8B21-4EBD-BF0B-5700A1291B3D}">
      <dgm:prSet/>
      <dgm:spPr/>
      <dgm:t>
        <a:bodyPr/>
        <a:lstStyle/>
        <a:p>
          <a:endParaRPr lang="ru-UA"/>
        </a:p>
      </dgm:t>
    </dgm:pt>
    <dgm:pt modelId="{8861803B-B188-4646-A940-4168F0577496}" type="pres">
      <dgm:prSet presAssocID="{A0C0224A-C1E9-4653-8FE2-9A8836151C02}" presName="linear" presStyleCnt="0">
        <dgm:presLayoutVars>
          <dgm:animLvl val="lvl"/>
          <dgm:resizeHandles val="exact"/>
        </dgm:presLayoutVars>
      </dgm:prSet>
      <dgm:spPr/>
      <dgm:t>
        <a:bodyPr/>
        <a:lstStyle/>
        <a:p>
          <a:endParaRPr lang="en-US"/>
        </a:p>
      </dgm:t>
    </dgm:pt>
    <dgm:pt modelId="{BA32CA74-C898-4810-8215-DDD291D3907C}" type="pres">
      <dgm:prSet presAssocID="{80060EA9-3D16-45FE-98D4-BB4B85EE8530}" presName="parentText" presStyleLbl="node1" presStyleIdx="0" presStyleCnt="2">
        <dgm:presLayoutVars>
          <dgm:chMax val="0"/>
          <dgm:bulletEnabled val="1"/>
        </dgm:presLayoutVars>
      </dgm:prSet>
      <dgm:spPr/>
      <dgm:t>
        <a:bodyPr/>
        <a:lstStyle/>
        <a:p>
          <a:endParaRPr lang="en-US"/>
        </a:p>
      </dgm:t>
    </dgm:pt>
    <dgm:pt modelId="{F2663DDB-AF79-4774-94A4-303448794070}" type="pres">
      <dgm:prSet presAssocID="{80060EA9-3D16-45FE-98D4-BB4B85EE8530}" presName="childText" presStyleLbl="revTx" presStyleIdx="0" presStyleCnt="1">
        <dgm:presLayoutVars>
          <dgm:bulletEnabled val="1"/>
        </dgm:presLayoutVars>
      </dgm:prSet>
      <dgm:spPr/>
      <dgm:t>
        <a:bodyPr/>
        <a:lstStyle/>
        <a:p>
          <a:endParaRPr lang="en-US"/>
        </a:p>
      </dgm:t>
    </dgm:pt>
    <dgm:pt modelId="{D69BF492-A030-4636-B7E7-C0086D7751C0}" type="pres">
      <dgm:prSet presAssocID="{D58A9573-D2B2-480F-9ACD-DEF46C9A50CC}" presName="parentText" presStyleLbl="node1" presStyleIdx="1" presStyleCnt="2">
        <dgm:presLayoutVars>
          <dgm:chMax val="0"/>
          <dgm:bulletEnabled val="1"/>
        </dgm:presLayoutVars>
      </dgm:prSet>
      <dgm:spPr/>
      <dgm:t>
        <a:bodyPr/>
        <a:lstStyle/>
        <a:p>
          <a:endParaRPr lang="en-US"/>
        </a:p>
      </dgm:t>
    </dgm:pt>
  </dgm:ptLst>
  <dgm:cxnLst>
    <dgm:cxn modelId="{D8DA762D-C157-433A-B8D4-CFC1616BC3B1}" srcId="{80060EA9-3D16-45FE-98D4-BB4B85EE8530}" destId="{8443DCA0-70AA-4184-883F-2C4E982138DC}" srcOrd="0" destOrd="0" parTransId="{8B05BDA8-D225-460A-98A8-0D989B0A9272}" sibTransId="{D6791F52-43E5-4A16-820C-2DD1818B38FE}"/>
    <dgm:cxn modelId="{8A5857A4-0C8D-41DE-A6B3-C0F1AE7A0429}" type="presOf" srcId="{8443DCA0-70AA-4184-883F-2C4E982138DC}" destId="{F2663DDB-AF79-4774-94A4-303448794070}" srcOrd="0" destOrd="0" presId="urn:microsoft.com/office/officeart/2005/8/layout/vList2"/>
    <dgm:cxn modelId="{1CEA8E63-08F9-410C-B9D5-11785AA619AF}" type="presOf" srcId="{A0C0224A-C1E9-4653-8FE2-9A8836151C02}" destId="{8861803B-B188-4646-A940-4168F0577496}" srcOrd="0" destOrd="0" presId="urn:microsoft.com/office/officeart/2005/8/layout/vList2"/>
    <dgm:cxn modelId="{709EF28B-602E-4B80-97EB-BBAB7567F642}" type="presOf" srcId="{D58A9573-D2B2-480F-9ACD-DEF46C9A50CC}" destId="{D69BF492-A030-4636-B7E7-C0086D7751C0}" srcOrd="0" destOrd="0" presId="urn:microsoft.com/office/officeart/2005/8/layout/vList2"/>
    <dgm:cxn modelId="{B4ABAF62-8B21-4EBD-BF0B-5700A1291B3D}" srcId="{A0C0224A-C1E9-4653-8FE2-9A8836151C02}" destId="{D58A9573-D2B2-480F-9ACD-DEF46C9A50CC}" srcOrd="1" destOrd="0" parTransId="{D68A264C-465A-4C47-9C39-92463C872FC8}" sibTransId="{993F921A-96D9-43CA-AF83-E1E733EF2FE9}"/>
    <dgm:cxn modelId="{648D65C7-4557-4B50-B0C4-CA5F81D8C5D7}" srcId="{A0C0224A-C1E9-4653-8FE2-9A8836151C02}" destId="{80060EA9-3D16-45FE-98D4-BB4B85EE8530}" srcOrd="0" destOrd="0" parTransId="{A4B3BCED-B76F-4BB0-9A5D-664C1A81DD09}" sibTransId="{CDBA8231-51EE-4AC1-BAD5-3D5F004BA37C}"/>
    <dgm:cxn modelId="{17BC3CDC-59C3-4886-A1FD-03672C8E201D}" type="presOf" srcId="{80060EA9-3D16-45FE-98D4-BB4B85EE8530}" destId="{BA32CA74-C898-4810-8215-DDD291D3907C}" srcOrd="0" destOrd="0" presId="urn:microsoft.com/office/officeart/2005/8/layout/vList2"/>
    <dgm:cxn modelId="{9AC7C7A2-CEC6-4484-ACDB-26866C05C99A}" type="presParOf" srcId="{8861803B-B188-4646-A940-4168F0577496}" destId="{BA32CA74-C898-4810-8215-DDD291D3907C}" srcOrd="0" destOrd="0" presId="urn:microsoft.com/office/officeart/2005/8/layout/vList2"/>
    <dgm:cxn modelId="{96F5E15F-86A9-44AF-A481-ADBA9194EA64}" type="presParOf" srcId="{8861803B-B188-4646-A940-4168F0577496}" destId="{F2663DDB-AF79-4774-94A4-303448794070}" srcOrd="1" destOrd="0" presId="urn:microsoft.com/office/officeart/2005/8/layout/vList2"/>
    <dgm:cxn modelId="{5F16C589-B235-46E1-B3BB-3AA779B4B456}" type="presParOf" srcId="{8861803B-B188-4646-A940-4168F0577496}" destId="{D69BF492-A030-4636-B7E7-C0086D7751C0}"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279095C-514A-4217-8B07-3A603F80396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ru-UA"/>
        </a:p>
      </dgm:t>
    </dgm:pt>
    <dgm:pt modelId="{A292656E-F39F-4EE7-B72E-C406D908D7CE}">
      <dgm:prSet phldrT="[Текст]"/>
      <dgm:spPr/>
      <dgm:t>
        <a:bodyPr/>
        <a:lstStyle/>
        <a:p>
          <a:r>
            <a:rPr lang="uk-UA" b="0" i="0" noProof="0" dirty="0">
              <a:solidFill>
                <a:schemeClr val="tx1"/>
              </a:solidFill>
            </a:rPr>
            <a:t>спосіб та мінімальний строк повідомлення працівника про початок виконання роботи, який повинен бути достатнім для своєчасного початку виконання працівником своїх обов’язків;</a:t>
          </a:r>
          <a:endParaRPr lang="uk-UA" noProof="0" dirty="0">
            <a:solidFill>
              <a:schemeClr val="tx1"/>
            </a:solidFill>
          </a:endParaRPr>
        </a:p>
      </dgm:t>
    </dgm:pt>
    <dgm:pt modelId="{3645031C-91B4-44FD-BAFB-80D6A4F7A611}" type="parTrans" cxnId="{857EC1AA-B527-4361-A535-9F901924A8E5}">
      <dgm:prSet/>
      <dgm:spPr/>
      <dgm:t>
        <a:bodyPr/>
        <a:lstStyle/>
        <a:p>
          <a:endParaRPr lang="ru-UA"/>
        </a:p>
      </dgm:t>
    </dgm:pt>
    <dgm:pt modelId="{43C04B92-8CD9-47F4-921F-230AD8091E48}" type="sibTrans" cxnId="{857EC1AA-B527-4361-A535-9F901924A8E5}">
      <dgm:prSet/>
      <dgm:spPr/>
      <dgm:t>
        <a:bodyPr/>
        <a:lstStyle/>
        <a:p>
          <a:endParaRPr lang="ru-UA"/>
        </a:p>
      </dgm:t>
    </dgm:pt>
    <dgm:pt modelId="{27B77387-9D25-496F-8488-FFB24F96C14C}">
      <dgm:prSet/>
      <dgm:spPr/>
      <dgm:t>
        <a:bodyPr/>
        <a:lstStyle/>
        <a:p>
          <a:r>
            <a:rPr lang="uk-UA" b="0" i="0" noProof="0" dirty="0">
              <a:solidFill>
                <a:schemeClr val="tx1"/>
              </a:solidFill>
            </a:rPr>
            <a:t>спосіб та максимальний строк повідомлення від працівника про готовність приступити до роботи або про відмову від її виконання у випадках, передбачених частиною восьмою цієї статті;</a:t>
          </a:r>
        </a:p>
      </dgm:t>
    </dgm:pt>
    <dgm:pt modelId="{C7784D65-9090-40B1-9B0B-A0EC5A701A0F}" type="parTrans" cxnId="{3D6759B3-CE65-4B8C-838D-615058FD8937}">
      <dgm:prSet/>
      <dgm:spPr/>
      <dgm:t>
        <a:bodyPr/>
        <a:lstStyle/>
        <a:p>
          <a:endParaRPr lang="ru-UA"/>
        </a:p>
      </dgm:t>
    </dgm:pt>
    <dgm:pt modelId="{9F652835-B124-42D5-AE56-FF6E47FDBB8D}" type="sibTrans" cxnId="{3D6759B3-CE65-4B8C-838D-615058FD8937}">
      <dgm:prSet/>
      <dgm:spPr/>
      <dgm:t>
        <a:bodyPr/>
        <a:lstStyle/>
        <a:p>
          <a:endParaRPr lang="ru-UA"/>
        </a:p>
      </dgm:t>
    </dgm:pt>
    <dgm:pt modelId="{C7897DD8-EEF3-47E6-AC61-BD85F39743D4}">
      <dgm:prSet/>
      <dgm:spPr/>
      <dgm:t>
        <a:bodyPr/>
        <a:lstStyle/>
        <a:p>
          <a:r>
            <a:rPr lang="uk-UA" b="0" i="0" noProof="0" dirty="0">
              <a:solidFill>
                <a:schemeClr val="tx1"/>
              </a:solidFill>
            </a:rPr>
            <a:t>інтервали, під час яких від працівника можуть вимагати працювати (базові години та дні).</a:t>
          </a:r>
        </a:p>
      </dgm:t>
    </dgm:pt>
    <dgm:pt modelId="{990B45FD-A382-49E1-880B-52EC2D318B64}" type="parTrans" cxnId="{6255982A-B9D9-4014-BDD0-E5868CCFF87E}">
      <dgm:prSet/>
      <dgm:spPr/>
      <dgm:t>
        <a:bodyPr/>
        <a:lstStyle/>
        <a:p>
          <a:endParaRPr lang="ru-UA"/>
        </a:p>
      </dgm:t>
    </dgm:pt>
    <dgm:pt modelId="{904AAA33-615D-4963-8AFD-4B2D8C27554B}" type="sibTrans" cxnId="{6255982A-B9D9-4014-BDD0-E5868CCFF87E}">
      <dgm:prSet/>
      <dgm:spPr/>
      <dgm:t>
        <a:bodyPr/>
        <a:lstStyle/>
        <a:p>
          <a:endParaRPr lang="ru-UA"/>
        </a:p>
      </dgm:t>
    </dgm:pt>
    <dgm:pt modelId="{B7C17DCC-608A-4418-B80A-35FB626E1598}" type="pres">
      <dgm:prSet presAssocID="{F279095C-514A-4217-8B07-3A603F803964}" presName="Name0" presStyleCnt="0">
        <dgm:presLayoutVars>
          <dgm:dir/>
          <dgm:animLvl val="lvl"/>
          <dgm:resizeHandles val="exact"/>
        </dgm:presLayoutVars>
      </dgm:prSet>
      <dgm:spPr/>
      <dgm:t>
        <a:bodyPr/>
        <a:lstStyle/>
        <a:p>
          <a:endParaRPr lang="en-US"/>
        </a:p>
      </dgm:t>
    </dgm:pt>
    <dgm:pt modelId="{11F03A19-649C-4514-A0DC-1474DF463C78}" type="pres">
      <dgm:prSet presAssocID="{A292656E-F39F-4EE7-B72E-C406D908D7CE}" presName="composite" presStyleCnt="0"/>
      <dgm:spPr/>
    </dgm:pt>
    <dgm:pt modelId="{C01D0633-22A5-490D-9A43-9C18C48CDD52}" type="pres">
      <dgm:prSet presAssocID="{A292656E-F39F-4EE7-B72E-C406D908D7CE}" presName="parTx" presStyleLbl="alignNode1" presStyleIdx="0" presStyleCnt="3" custScaleY="151088">
        <dgm:presLayoutVars>
          <dgm:chMax val="0"/>
          <dgm:chPref val="0"/>
          <dgm:bulletEnabled val="1"/>
        </dgm:presLayoutVars>
      </dgm:prSet>
      <dgm:spPr/>
      <dgm:t>
        <a:bodyPr/>
        <a:lstStyle/>
        <a:p>
          <a:endParaRPr lang="en-US"/>
        </a:p>
      </dgm:t>
    </dgm:pt>
    <dgm:pt modelId="{059DAF36-FAA5-451D-8428-5A373FF99DC5}" type="pres">
      <dgm:prSet presAssocID="{A292656E-F39F-4EE7-B72E-C406D908D7CE}" presName="desTx" presStyleLbl="alignAccFollowNode1" presStyleIdx="0" presStyleCnt="3">
        <dgm:presLayoutVars>
          <dgm:bulletEnabled val="1"/>
        </dgm:presLayoutVars>
      </dgm:prSet>
      <dgm:spPr/>
    </dgm:pt>
    <dgm:pt modelId="{4C5C2C7A-FEF6-478E-A080-3BF656CCA065}" type="pres">
      <dgm:prSet presAssocID="{43C04B92-8CD9-47F4-921F-230AD8091E48}" presName="space" presStyleCnt="0"/>
      <dgm:spPr/>
    </dgm:pt>
    <dgm:pt modelId="{C1F5694B-D0AD-483B-8D71-C35D6EAB43EB}" type="pres">
      <dgm:prSet presAssocID="{27B77387-9D25-496F-8488-FFB24F96C14C}" presName="composite" presStyleCnt="0"/>
      <dgm:spPr/>
    </dgm:pt>
    <dgm:pt modelId="{5C26D65E-9136-4390-8FB7-B07A3CFC756F}" type="pres">
      <dgm:prSet presAssocID="{27B77387-9D25-496F-8488-FFB24F96C14C}" presName="parTx" presStyleLbl="alignNode1" presStyleIdx="1" presStyleCnt="3">
        <dgm:presLayoutVars>
          <dgm:chMax val="0"/>
          <dgm:chPref val="0"/>
          <dgm:bulletEnabled val="1"/>
        </dgm:presLayoutVars>
      </dgm:prSet>
      <dgm:spPr/>
      <dgm:t>
        <a:bodyPr/>
        <a:lstStyle/>
        <a:p>
          <a:endParaRPr lang="en-US"/>
        </a:p>
      </dgm:t>
    </dgm:pt>
    <dgm:pt modelId="{D00858F7-B3F9-42E4-93CD-A4FB1BC88DC6}" type="pres">
      <dgm:prSet presAssocID="{27B77387-9D25-496F-8488-FFB24F96C14C}" presName="desTx" presStyleLbl="alignAccFollowNode1" presStyleIdx="1" presStyleCnt="3">
        <dgm:presLayoutVars>
          <dgm:bulletEnabled val="1"/>
        </dgm:presLayoutVars>
      </dgm:prSet>
      <dgm:spPr/>
    </dgm:pt>
    <dgm:pt modelId="{35905E4C-A52B-4856-9397-786DF095DD1C}" type="pres">
      <dgm:prSet presAssocID="{9F652835-B124-42D5-AE56-FF6E47FDBB8D}" presName="space" presStyleCnt="0"/>
      <dgm:spPr/>
    </dgm:pt>
    <dgm:pt modelId="{E94C2241-99F9-4C1C-B45E-B8C373721A26}" type="pres">
      <dgm:prSet presAssocID="{C7897DD8-EEF3-47E6-AC61-BD85F39743D4}" presName="composite" presStyleCnt="0"/>
      <dgm:spPr/>
    </dgm:pt>
    <dgm:pt modelId="{BF3D3820-4494-49F7-9A96-A024FD33180F}" type="pres">
      <dgm:prSet presAssocID="{C7897DD8-EEF3-47E6-AC61-BD85F39743D4}" presName="parTx" presStyleLbl="alignNode1" presStyleIdx="2" presStyleCnt="3">
        <dgm:presLayoutVars>
          <dgm:chMax val="0"/>
          <dgm:chPref val="0"/>
          <dgm:bulletEnabled val="1"/>
        </dgm:presLayoutVars>
      </dgm:prSet>
      <dgm:spPr/>
      <dgm:t>
        <a:bodyPr/>
        <a:lstStyle/>
        <a:p>
          <a:endParaRPr lang="en-US"/>
        </a:p>
      </dgm:t>
    </dgm:pt>
    <dgm:pt modelId="{449E2DB8-0CDC-4CDE-A8D6-345651298BAA}" type="pres">
      <dgm:prSet presAssocID="{C7897DD8-EEF3-47E6-AC61-BD85F39743D4}" presName="desTx" presStyleLbl="alignAccFollowNode1" presStyleIdx="2" presStyleCnt="3">
        <dgm:presLayoutVars>
          <dgm:bulletEnabled val="1"/>
        </dgm:presLayoutVars>
      </dgm:prSet>
      <dgm:spPr/>
    </dgm:pt>
  </dgm:ptLst>
  <dgm:cxnLst>
    <dgm:cxn modelId="{845E1ADF-36CD-45E0-9339-F4DFCF23A0E1}" type="presOf" srcId="{F279095C-514A-4217-8B07-3A603F803964}" destId="{B7C17DCC-608A-4418-B80A-35FB626E1598}" srcOrd="0" destOrd="0" presId="urn:microsoft.com/office/officeart/2005/8/layout/hList1"/>
    <dgm:cxn modelId="{3D6759B3-CE65-4B8C-838D-615058FD8937}" srcId="{F279095C-514A-4217-8B07-3A603F803964}" destId="{27B77387-9D25-496F-8488-FFB24F96C14C}" srcOrd="1" destOrd="0" parTransId="{C7784D65-9090-40B1-9B0B-A0EC5A701A0F}" sibTransId="{9F652835-B124-42D5-AE56-FF6E47FDBB8D}"/>
    <dgm:cxn modelId="{357730E9-7FF5-4A0C-838B-F24CA540A950}" type="presOf" srcId="{A292656E-F39F-4EE7-B72E-C406D908D7CE}" destId="{C01D0633-22A5-490D-9A43-9C18C48CDD52}" srcOrd="0" destOrd="0" presId="urn:microsoft.com/office/officeart/2005/8/layout/hList1"/>
    <dgm:cxn modelId="{A8C39EAC-A405-4A1D-AD75-4ABDDB2F8042}" type="presOf" srcId="{C7897DD8-EEF3-47E6-AC61-BD85F39743D4}" destId="{BF3D3820-4494-49F7-9A96-A024FD33180F}" srcOrd="0" destOrd="0" presId="urn:microsoft.com/office/officeart/2005/8/layout/hList1"/>
    <dgm:cxn modelId="{6255982A-B9D9-4014-BDD0-E5868CCFF87E}" srcId="{F279095C-514A-4217-8B07-3A603F803964}" destId="{C7897DD8-EEF3-47E6-AC61-BD85F39743D4}" srcOrd="2" destOrd="0" parTransId="{990B45FD-A382-49E1-880B-52EC2D318B64}" sibTransId="{904AAA33-615D-4963-8AFD-4B2D8C27554B}"/>
    <dgm:cxn modelId="{6224FBB5-221D-41C9-B56C-D36C629F72FA}" type="presOf" srcId="{27B77387-9D25-496F-8488-FFB24F96C14C}" destId="{5C26D65E-9136-4390-8FB7-B07A3CFC756F}" srcOrd="0" destOrd="0" presId="urn:microsoft.com/office/officeart/2005/8/layout/hList1"/>
    <dgm:cxn modelId="{857EC1AA-B527-4361-A535-9F901924A8E5}" srcId="{F279095C-514A-4217-8B07-3A603F803964}" destId="{A292656E-F39F-4EE7-B72E-C406D908D7CE}" srcOrd="0" destOrd="0" parTransId="{3645031C-91B4-44FD-BAFB-80D6A4F7A611}" sibTransId="{43C04B92-8CD9-47F4-921F-230AD8091E48}"/>
    <dgm:cxn modelId="{D268469B-8A6D-4346-8185-319CBB5DF12B}" type="presParOf" srcId="{B7C17DCC-608A-4418-B80A-35FB626E1598}" destId="{11F03A19-649C-4514-A0DC-1474DF463C78}" srcOrd="0" destOrd="0" presId="urn:microsoft.com/office/officeart/2005/8/layout/hList1"/>
    <dgm:cxn modelId="{776C8155-7177-44E5-9F5E-31FEA770D7DF}" type="presParOf" srcId="{11F03A19-649C-4514-A0DC-1474DF463C78}" destId="{C01D0633-22A5-490D-9A43-9C18C48CDD52}" srcOrd="0" destOrd="0" presId="urn:microsoft.com/office/officeart/2005/8/layout/hList1"/>
    <dgm:cxn modelId="{B0B5562C-E1B0-488B-9A7D-ED0325F3CF54}" type="presParOf" srcId="{11F03A19-649C-4514-A0DC-1474DF463C78}" destId="{059DAF36-FAA5-451D-8428-5A373FF99DC5}" srcOrd="1" destOrd="0" presId="urn:microsoft.com/office/officeart/2005/8/layout/hList1"/>
    <dgm:cxn modelId="{C6AA6451-198E-4F98-A784-8385E1436C60}" type="presParOf" srcId="{B7C17DCC-608A-4418-B80A-35FB626E1598}" destId="{4C5C2C7A-FEF6-478E-A080-3BF656CCA065}" srcOrd="1" destOrd="0" presId="urn:microsoft.com/office/officeart/2005/8/layout/hList1"/>
    <dgm:cxn modelId="{89A29D8C-A9E3-49AA-A75E-E4301DCA51DA}" type="presParOf" srcId="{B7C17DCC-608A-4418-B80A-35FB626E1598}" destId="{C1F5694B-D0AD-483B-8D71-C35D6EAB43EB}" srcOrd="2" destOrd="0" presId="urn:microsoft.com/office/officeart/2005/8/layout/hList1"/>
    <dgm:cxn modelId="{89D54CA2-2DA2-4872-A140-FB69168C1061}" type="presParOf" srcId="{C1F5694B-D0AD-483B-8D71-C35D6EAB43EB}" destId="{5C26D65E-9136-4390-8FB7-B07A3CFC756F}" srcOrd="0" destOrd="0" presId="urn:microsoft.com/office/officeart/2005/8/layout/hList1"/>
    <dgm:cxn modelId="{77FD8880-46AA-4631-A0CA-5C515E3983BA}" type="presParOf" srcId="{C1F5694B-D0AD-483B-8D71-C35D6EAB43EB}" destId="{D00858F7-B3F9-42E4-93CD-A4FB1BC88DC6}" srcOrd="1" destOrd="0" presId="urn:microsoft.com/office/officeart/2005/8/layout/hList1"/>
    <dgm:cxn modelId="{123842DF-81ED-497F-BFAC-4301C26D0CCF}" type="presParOf" srcId="{B7C17DCC-608A-4418-B80A-35FB626E1598}" destId="{35905E4C-A52B-4856-9397-786DF095DD1C}" srcOrd="3" destOrd="0" presId="urn:microsoft.com/office/officeart/2005/8/layout/hList1"/>
    <dgm:cxn modelId="{2348F8FE-F9B0-43EE-BC86-80939CBA9E74}" type="presParOf" srcId="{B7C17DCC-608A-4418-B80A-35FB626E1598}" destId="{E94C2241-99F9-4C1C-B45E-B8C373721A26}" srcOrd="4" destOrd="0" presId="urn:microsoft.com/office/officeart/2005/8/layout/hList1"/>
    <dgm:cxn modelId="{526BD0DF-E85C-4E9B-B682-431AD8B44E6A}" type="presParOf" srcId="{E94C2241-99F9-4C1C-B45E-B8C373721A26}" destId="{BF3D3820-4494-49F7-9A96-A024FD33180F}" srcOrd="0" destOrd="0" presId="urn:microsoft.com/office/officeart/2005/8/layout/hList1"/>
    <dgm:cxn modelId="{478D3D9D-559C-4181-A3D9-C1E19EDED03A}" type="presParOf" srcId="{E94C2241-99F9-4C1C-B45E-B8C373721A26}" destId="{449E2DB8-0CDC-4CDE-A8D6-345651298BAA}"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445C263F-915C-4719-B803-201518D9C584}"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ru-UA"/>
        </a:p>
      </dgm:t>
    </dgm:pt>
    <dgm:pt modelId="{9D6F1614-B7E3-4166-A033-BEE74A3ECDA3}">
      <dgm:prSet phldrT="[Текст]"/>
      <dgm:spPr/>
      <dgm:t>
        <a:bodyPr/>
        <a:lstStyle/>
        <a:p>
          <a:r>
            <a:rPr lang="uk-UA" noProof="0" dirty="0"/>
            <a:t>У задоволенні позову відмовлено</a:t>
          </a:r>
        </a:p>
      </dgm:t>
    </dgm:pt>
    <dgm:pt modelId="{6AD0B29E-C478-46D5-9AB2-A64CC432B625}" type="parTrans" cxnId="{BC53F2DB-333E-451C-895A-67BCAD89A7A1}">
      <dgm:prSet/>
      <dgm:spPr/>
      <dgm:t>
        <a:bodyPr/>
        <a:lstStyle/>
        <a:p>
          <a:endParaRPr lang="ru-UA"/>
        </a:p>
      </dgm:t>
    </dgm:pt>
    <dgm:pt modelId="{A1F976C2-2487-4E6C-9935-B5ECB5A13F21}" type="sibTrans" cxnId="{BC53F2DB-333E-451C-895A-67BCAD89A7A1}">
      <dgm:prSet/>
      <dgm:spPr/>
      <dgm:t>
        <a:bodyPr/>
        <a:lstStyle/>
        <a:p>
          <a:endParaRPr lang="ru-UA"/>
        </a:p>
      </dgm:t>
    </dgm:pt>
    <dgm:pt modelId="{03DF2B9F-AAC3-4718-8384-3803BAA05B43}">
      <dgm:prSet phldrT="[Текст]"/>
      <dgm:spPr/>
      <dgm:t>
        <a:bodyPr/>
        <a:lstStyle/>
        <a:p>
          <a:r>
            <a:rPr lang="uk-UA" noProof="0" dirty="0"/>
            <a:t>Апеляційна скарга залишена без задоволення</a:t>
          </a:r>
        </a:p>
      </dgm:t>
    </dgm:pt>
    <dgm:pt modelId="{35DC6503-63CF-4716-9216-6AEC93A48359}" type="parTrans" cxnId="{59EB33DF-FC6F-4B57-985A-A42BB92BB231}">
      <dgm:prSet/>
      <dgm:spPr/>
      <dgm:t>
        <a:bodyPr/>
        <a:lstStyle/>
        <a:p>
          <a:endParaRPr lang="ru-UA"/>
        </a:p>
      </dgm:t>
    </dgm:pt>
    <dgm:pt modelId="{DB63471B-9E89-4B75-AA01-E418C54DE2E8}" type="sibTrans" cxnId="{59EB33DF-FC6F-4B57-985A-A42BB92BB231}">
      <dgm:prSet/>
      <dgm:spPr/>
      <dgm:t>
        <a:bodyPr/>
        <a:lstStyle/>
        <a:p>
          <a:endParaRPr lang="ru-UA"/>
        </a:p>
      </dgm:t>
    </dgm:pt>
    <dgm:pt modelId="{2AE84C96-F1CC-47F6-8A80-263DF5C071D6}" type="pres">
      <dgm:prSet presAssocID="{445C263F-915C-4719-B803-201518D9C584}" presName="rootnode" presStyleCnt="0">
        <dgm:presLayoutVars>
          <dgm:chMax/>
          <dgm:chPref/>
          <dgm:dir/>
          <dgm:animLvl val="lvl"/>
        </dgm:presLayoutVars>
      </dgm:prSet>
      <dgm:spPr/>
      <dgm:t>
        <a:bodyPr/>
        <a:lstStyle/>
        <a:p>
          <a:endParaRPr lang="en-US"/>
        </a:p>
      </dgm:t>
    </dgm:pt>
    <dgm:pt modelId="{027F436E-F60E-4FEB-A238-9BBAAAA1871E}" type="pres">
      <dgm:prSet presAssocID="{9D6F1614-B7E3-4166-A033-BEE74A3ECDA3}" presName="composite" presStyleCnt="0"/>
      <dgm:spPr/>
    </dgm:pt>
    <dgm:pt modelId="{6E862C84-9419-4108-8F83-43E4E180EB19}" type="pres">
      <dgm:prSet presAssocID="{9D6F1614-B7E3-4166-A033-BEE74A3ECDA3}" presName="LShape" presStyleLbl="alignNode1" presStyleIdx="0" presStyleCnt="3"/>
      <dgm:spPr/>
    </dgm:pt>
    <dgm:pt modelId="{00E99759-AF57-4683-B740-A753C1B8EA17}" type="pres">
      <dgm:prSet presAssocID="{9D6F1614-B7E3-4166-A033-BEE74A3ECDA3}" presName="ParentText" presStyleLbl="revTx" presStyleIdx="0" presStyleCnt="2">
        <dgm:presLayoutVars>
          <dgm:chMax val="0"/>
          <dgm:chPref val="0"/>
          <dgm:bulletEnabled val="1"/>
        </dgm:presLayoutVars>
      </dgm:prSet>
      <dgm:spPr/>
      <dgm:t>
        <a:bodyPr/>
        <a:lstStyle/>
        <a:p>
          <a:endParaRPr lang="en-US"/>
        </a:p>
      </dgm:t>
    </dgm:pt>
    <dgm:pt modelId="{4AABF11A-928C-46D7-818D-C0E5A550E661}" type="pres">
      <dgm:prSet presAssocID="{9D6F1614-B7E3-4166-A033-BEE74A3ECDA3}" presName="Triangle" presStyleLbl="alignNode1" presStyleIdx="1" presStyleCnt="3"/>
      <dgm:spPr/>
    </dgm:pt>
    <dgm:pt modelId="{0EAB4AA5-CC1E-4FB7-B186-BB29C0111E92}" type="pres">
      <dgm:prSet presAssocID="{A1F976C2-2487-4E6C-9935-B5ECB5A13F21}" presName="sibTrans" presStyleCnt="0"/>
      <dgm:spPr/>
    </dgm:pt>
    <dgm:pt modelId="{FF39F2C5-C035-47B0-B753-662AD2E684EC}" type="pres">
      <dgm:prSet presAssocID="{A1F976C2-2487-4E6C-9935-B5ECB5A13F21}" presName="space" presStyleCnt="0"/>
      <dgm:spPr/>
    </dgm:pt>
    <dgm:pt modelId="{DFE2D8B5-15FF-4A49-8A03-0A09D5250C0A}" type="pres">
      <dgm:prSet presAssocID="{03DF2B9F-AAC3-4718-8384-3803BAA05B43}" presName="composite" presStyleCnt="0"/>
      <dgm:spPr/>
    </dgm:pt>
    <dgm:pt modelId="{B6497371-7E28-4022-A02C-84310E523EDD}" type="pres">
      <dgm:prSet presAssocID="{03DF2B9F-AAC3-4718-8384-3803BAA05B43}" presName="LShape" presStyleLbl="alignNode1" presStyleIdx="2" presStyleCnt="3"/>
      <dgm:spPr/>
    </dgm:pt>
    <dgm:pt modelId="{E8094594-ED11-44C6-911E-352B3C410FCF}" type="pres">
      <dgm:prSet presAssocID="{03DF2B9F-AAC3-4718-8384-3803BAA05B43}" presName="ParentText" presStyleLbl="revTx" presStyleIdx="1" presStyleCnt="2">
        <dgm:presLayoutVars>
          <dgm:chMax val="0"/>
          <dgm:chPref val="0"/>
          <dgm:bulletEnabled val="1"/>
        </dgm:presLayoutVars>
      </dgm:prSet>
      <dgm:spPr/>
      <dgm:t>
        <a:bodyPr/>
        <a:lstStyle/>
        <a:p>
          <a:endParaRPr lang="en-US"/>
        </a:p>
      </dgm:t>
    </dgm:pt>
  </dgm:ptLst>
  <dgm:cxnLst>
    <dgm:cxn modelId="{BC53F2DB-333E-451C-895A-67BCAD89A7A1}" srcId="{445C263F-915C-4719-B803-201518D9C584}" destId="{9D6F1614-B7E3-4166-A033-BEE74A3ECDA3}" srcOrd="0" destOrd="0" parTransId="{6AD0B29E-C478-46D5-9AB2-A64CC432B625}" sibTransId="{A1F976C2-2487-4E6C-9935-B5ECB5A13F21}"/>
    <dgm:cxn modelId="{AD8CBE57-26EE-4107-B1A2-7145AF7C4AB2}" type="presOf" srcId="{03DF2B9F-AAC3-4718-8384-3803BAA05B43}" destId="{E8094594-ED11-44C6-911E-352B3C410FCF}" srcOrd="0" destOrd="0" presId="urn:microsoft.com/office/officeart/2009/3/layout/StepUpProcess"/>
    <dgm:cxn modelId="{65464339-8605-44B0-8320-7026246C83F2}" type="presOf" srcId="{9D6F1614-B7E3-4166-A033-BEE74A3ECDA3}" destId="{00E99759-AF57-4683-B740-A753C1B8EA17}" srcOrd="0" destOrd="0" presId="urn:microsoft.com/office/officeart/2009/3/layout/StepUpProcess"/>
    <dgm:cxn modelId="{B1410066-45E4-40EE-BF42-48BB0DEC7201}" type="presOf" srcId="{445C263F-915C-4719-B803-201518D9C584}" destId="{2AE84C96-F1CC-47F6-8A80-263DF5C071D6}" srcOrd="0" destOrd="0" presId="urn:microsoft.com/office/officeart/2009/3/layout/StepUpProcess"/>
    <dgm:cxn modelId="{59EB33DF-FC6F-4B57-985A-A42BB92BB231}" srcId="{445C263F-915C-4719-B803-201518D9C584}" destId="{03DF2B9F-AAC3-4718-8384-3803BAA05B43}" srcOrd="1" destOrd="0" parTransId="{35DC6503-63CF-4716-9216-6AEC93A48359}" sibTransId="{DB63471B-9E89-4B75-AA01-E418C54DE2E8}"/>
    <dgm:cxn modelId="{F1AD7A59-3B96-4B37-B208-E87FA061C43A}" type="presParOf" srcId="{2AE84C96-F1CC-47F6-8A80-263DF5C071D6}" destId="{027F436E-F60E-4FEB-A238-9BBAAAA1871E}" srcOrd="0" destOrd="0" presId="urn:microsoft.com/office/officeart/2009/3/layout/StepUpProcess"/>
    <dgm:cxn modelId="{96407EF1-6486-4FBA-B577-9DC6E014B637}" type="presParOf" srcId="{027F436E-F60E-4FEB-A238-9BBAAAA1871E}" destId="{6E862C84-9419-4108-8F83-43E4E180EB19}" srcOrd="0" destOrd="0" presId="urn:microsoft.com/office/officeart/2009/3/layout/StepUpProcess"/>
    <dgm:cxn modelId="{B9C760C7-6ED4-48C7-A6C4-7A09F1979210}" type="presParOf" srcId="{027F436E-F60E-4FEB-A238-9BBAAAA1871E}" destId="{00E99759-AF57-4683-B740-A753C1B8EA17}" srcOrd="1" destOrd="0" presId="urn:microsoft.com/office/officeart/2009/3/layout/StepUpProcess"/>
    <dgm:cxn modelId="{66314639-8A11-4A43-AF9B-AB3369D82FC7}" type="presParOf" srcId="{027F436E-F60E-4FEB-A238-9BBAAAA1871E}" destId="{4AABF11A-928C-46D7-818D-C0E5A550E661}" srcOrd="2" destOrd="0" presId="urn:microsoft.com/office/officeart/2009/3/layout/StepUpProcess"/>
    <dgm:cxn modelId="{9ACE7BC7-CF29-40CE-9750-3732A52F5BDA}" type="presParOf" srcId="{2AE84C96-F1CC-47F6-8A80-263DF5C071D6}" destId="{0EAB4AA5-CC1E-4FB7-B186-BB29C0111E92}" srcOrd="1" destOrd="0" presId="urn:microsoft.com/office/officeart/2009/3/layout/StepUpProcess"/>
    <dgm:cxn modelId="{E01E7C62-F6D5-4ACD-AB25-E9908164AF80}" type="presParOf" srcId="{0EAB4AA5-CC1E-4FB7-B186-BB29C0111E92}" destId="{FF39F2C5-C035-47B0-B753-662AD2E684EC}" srcOrd="0" destOrd="0" presId="urn:microsoft.com/office/officeart/2009/3/layout/StepUpProcess"/>
    <dgm:cxn modelId="{3FB1BC88-D5ED-47F5-9260-42664AB3B397}" type="presParOf" srcId="{2AE84C96-F1CC-47F6-8A80-263DF5C071D6}" destId="{DFE2D8B5-15FF-4A49-8A03-0A09D5250C0A}" srcOrd="2" destOrd="0" presId="urn:microsoft.com/office/officeart/2009/3/layout/StepUpProcess"/>
    <dgm:cxn modelId="{71EBE4AD-DCF3-455D-A6D5-092E5C158C9A}" type="presParOf" srcId="{DFE2D8B5-15FF-4A49-8A03-0A09D5250C0A}" destId="{B6497371-7E28-4022-A02C-84310E523EDD}" srcOrd="0" destOrd="0" presId="urn:microsoft.com/office/officeart/2009/3/layout/StepUpProcess"/>
    <dgm:cxn modelId="{A1637933-2E5A-4DC7-A20A-01295D29CF15}" type="presParOf" srcId="{DFE2D8B5-15FF-4A49-8A03-0A09D5250C0A}" destId="{E8094594-ED11-44C6-911E-352B3C410FCF}"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50A5FF14-6E91-44FA-A51B-1C31DF6FC79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AA7F129A-39F8-4E37-A51A-8A89915D0C69}">
      <dgm:prSet phldrT="[Текст]"/>
      <dgm:spPr>
        <a:solidFill>
          <a:schemeClr val="accent2">
            <a:lumMod val="20000"/>
            <a:lumOff val="80000"/>
          </a:schemeClr>
        </a:solidFill>
      </dgm:spPr>
      <dgm:t>
        <a:bodyPr vert="vert270"/>
        <a:lstStyle/>
        <a:p>
          <a:pPr algn="ctr"/>
          <a:r>
            <a:rPr lang="uk-UA" noProof="1"/>
            <a:t>Справа про призупинення ТД (медчастина - Укрзалізниця) </a:t>
          </a:r>
        </a:p>
        <a:p>
          <a:pPr algn="ctr"/>
          <a:r>
            <a:rPr lang="uk-UA" b="0" i="0" noProof="1"/>
            <a:t>Справа № 149/1089/22</a:t>
          </a:r>
          <a:endParaRPr lang="uk-UA" noProof="1"/>
        </a:p>
      </dgm:t>
    </dgm:pt>
    <dgm:pt modelId="{63BF66A6-09F3-4527-88E3-6381FFBE5AD5}" type="parTrans" cxnId="{E76A9518-2FAE-46BA-9C12-6E06DACB0B5D}">
      <dgm:prSet/>
      <dgm:spPr/>
      <dgm:t>
        <a:bodyPr/>
        <a:lstStyle/>
        <a:p>
          <a:endParaRPr lang="ru-UA"/>
        </a:p>
      </dgm:t>
    </dgm:pt>
    <dgm:pt modelId="{BA214040-64A2-4A16-B651-4D733AFFE4C6}" type="sibTrans" cxnId="{E76A9518-2FAE-46BA-9C12-6E06DACB0B5D}">
      <dgm:prSet/>
      <dgm:spPr/>
      <dgm:t>
        <a:bodyPr/>
        <a:lstStyle/>
        <a:p>
          <a:endParaRPr lang="ru-UA"/>
        </a:p>
      </dgm:t>
    </dgm:pt>
    <dgm:pt modelId="{8DAEB9DC-3CB1-4F23-B2DB-CA985410F4C2}">
      <dgm:prSet phldrT="[Текст]"/>
      <dgm:spPr/>
      <dgm:t>
        <a:bodyPr/>
        <a:lstStyle/>
        <a:p>
          <a:r>
            <a:rPr lang="uk-UA" b="0" i="0" noProof="1"/>
            <a:t>03.03.2022 року деяким працівникам було встановлено режим простою з 07.03.2022 року до відміни воєнного стану. Позивача цей наказ не стосується. Наказом від 22.04.2022 року дію трудового договору позивача з 25.04.2022 року призупинено до відновлення, але не пізніше дня припинення або скасування воєнного стану.</a:t>
          </a:r>
          <a:endParaRPr lang="uk-UA" noProof="1"/>
        </a:p>
      </dgm:t>
    </dgm:pt>
    <dgm:pt modelId="{94297B8E-4E83-4E2C-881D-C820F5DD3E9A}" type="parTrans" cxnId="{CDA2D0D8-F605-4EA0-B12C-74EB4870C248}">
      <dgm:prSet/>
      <dgm:spPr/>
      <dgm:t>
        <a:bodyPr/>
        <a:lstStyle/>
        <a:p>
          <a:endParaRPr lang="ru-UA"/>
        </a:p>
      </dgm:t>
    </dgm:pt>
    <dgm:pt modelId="{E61B12C0-DD26-4203-838C-DC3BBEAF4A3F}" type="sibTrans" cxnId="{CDA2D0D8-F605-4EA0-B12C-74EB4870C248}">
      <dgm:prSet/>
      <dgm:spPr/>
      <dgm:t>
        <a:bodyPr/>
        <a:lstStyle/>
        <a:p>
          <a:endParaRPr lang="ru-UA"/>
        </a:p>
      </dgm:t>
    </dgm:pt>
    <dgm:pt modelId="{B2A23F94-A4EC-4C97-BB35-F92B83B780A0}">
      <dgm:prSet phldrT="[Текст]"/>
      <dgm:spPr/>
      <dgm:t>
        <a:bodyPr/>
        <a:lstStyle/>
        <a:p>
          <a:r>
            <a:rPr lang="uk-UA" b="0" i="0" noProof="1"/>
            <a:t>Наказ обгрунтовано відсутністю умов для організації та виконання виробничого процесу санаторно-курортного лікування відповідно до ст. 13 Закону України "Про організацію трудових відносин в умовах воєнного стану" від 15.03.2022 року, Указу Президента України "Про введення воєнного стану в Україні" від 24.02.2022 року.</a:t>
          </a:r>
        </a:p>
      </dgm:t>
    </dgm:pt>
    <dgm:pt modelId="{8F6F6E59-92AB-479B-BB5F-0F775359712A}" type="parTrans" cxnId="{D479ABDE-EDBA-46B3-99F9-DF21A141CAF5}">
      <dgm:prSet/>
      <dgm:spPr/>
      <dgm:t>
        <a:bodyPr/>
        <a:lstStyle/>
        <a:p>
          <a:endParaRPr lang="ru-UA"/>
        </a:p>
      </dgm:t>
    </dgm:pt>
    <dgm:pt modelId="{41A893FE-0153-48B5-A0B0-D09CE5430403}" type="sibTrans" cxnId="{D479ABDE-EDBA-46B3-99F9-DF21A141CAF5}">
      <dgm:prSet/>
      <dgm:spPr/>
      <dgm:t>
        <a:bodyPr/>
        <a:lstStyle/>
        <a:p>
          <a:endParaRPr lang="ru-UA"/>
        </a:p>
      </dgm:t>
    </dgm:pt>
    <dgm:pt modelId="{27F56B54-934B-4E3A-8445-FA26BB3CE89C}">
      <dgm:prSet phldrT="[Текст]"/>
      <dgm:spPr/>
      <dgm:t>
        <a:bodyPr/>
        <a:lstStyle/>
        <a:p>
          <a:r>
            <a:rPr lang="uk-UA" b="0" i="0" noProof="1"/>
            <a:t>Позивач може виконувати свою роботу за посадою, знаходиться по місцю свого проживання. Місто Хмільник Вінницької області де розташовано її робоче місце, не відноситься до зони бойових дій, не є окупованою територією, де є неможливим надання та виконання роботи за її трудовим договором. При цьому </a:t>
          </a:r>
          <a:r>
            <a:rPr lang="ru-RU" b="0" i="0" dirty="0" err="1"/>
            <a:t>працює</a:t>
          </a:r>
          <a:r>
            <a:rPr lang="ru-RU" b="0" i="0" dirty="0"/>
            <a:t> весь </a:t>
          </a:r>
          <a:r>
            <a:rPr lang="uk-UA" b="0" i="0" noProof="0" dirty="0"/>
            <a:t>медичний персонал</a:t>
          </a:r>
          <a:endParaRPr lang="uk-UA" noProof="0" dirty="0"/>
        </a:p>
      </dgm:t>
    </dgm:pt>
    <dgm:pt modelId="{A57B0342-F409-4F18-9C32-BE569B2CEBC4}" type="parTrans" cxnId="{B35C8C81-F4A0-437D-A283-88248B7F72CC}">
      <dgm:prSet/>
      <dgm:spPr/>
      <dgm:t>
        <a:bodyPr/>
        <a:lstStyle/>
        <a:p>
          <a:endParaRPr lang="ru-UA"/>
        </a:p>
      </dgm:t>
    </dgm:pt>
    <dgm:pt modelId="{82F004CF-4B6A-4BA8-900D-93B379CE2B17}" type="sibTrans" cxnId="{B35C8C81-F4A0-437D-A283-88248B7F72CC}">
      <dgm:prSet/>
      <dgm:spPr/>
      <dgm:t>
        <a:bodyPr/>
        <a:lstStyle/>
        <a:p>
          <a:endParaRPr lang="ru-UA"/>
        </a:p>
      </dgm:t>
    </dgm:pt>
    <dgm:pt modelId="{DC1747FD-EA5B-459F-BCA8-A4B901B6DCE8}" type="pres">
      <dgm:prSet presAssocID="{50A5FF14-6E91-44FA-A51B-1C31DF6FC79F}" presName="vert0" presStyleCnt="0">
        <dgm:presLayoutVars>
          <dgm:dir/>
          <dgm:animOne val="branch"/>
          <dgm:animLvl val="lvl"/>
        </dgm:presLayoutVars>
      </dgm:prSet>
      <dgm:spPr/>
      <dgm:t>
        <a:bodyPr/>
        <a:lstStyle/>
        <a:p>
          <a:endParaRPr lang="en-US"/>
        </a:p>
      </dgm:t>
    </dgm:pt>
    <dgm:pt modelId="{5CF985C4-2067-4047-BA7D-3E7421B6ADF5}" type="pres">
      <dgm:prSet presAssocID="{AA7F129A-39F8-4E37-A51A-8A89915D0C69}" presName="thickLine" presStyleLbl="alignNode1" presStyleIdx="0" presStyleCnt="1"/>
      <dgm:spPr/>
    </dgm:pt>
    <dgm:pt modelId="{D309DAB1-D711-4676-B0C9-9800CF1508A1}" type="pres">
      <dgm:prSet presAssocID="{AA7F129A-39F8-4E37-A51A-8A89915D0C69}" presName="horz1" presStyleCnt="0"/>
      <dgm:spPr/>
    </dgm:pt>
    <dgm:pt modelId="{44949010-F43F-4273-BF25-436505F95A4B}" type="pres">
      <dgm:prSet presAssocID="{AA7F129A-39F8-4E37-A51A-8A89915D0C69}" presName="tx1" presStyleLbl="revTx" presStyleIdx="0" presStyleCnt="4" custScaleX="57921"/>
      <dgm:spPr/>
      <dgm:t>
        <a:bodyPr/>
        <a:lstStyle/>
        <a:p>
          <a:endParaRPr lang="en-US"/>
        </a:p>
      </dgm:t>
    </dgm:pt>
    <dgm:pt modelId="{75D8827E-E612-4E90-9865-159664BEB206}" type="pres">
      <dgm:prSet presAssocID="{AA7F129A-39F8-4E37-A51A-8A89915D0C69}" presName="vert1" presStyleCnt="0"/>
      <dgm:spPr/>
    </dgm:pt>
    <dgm:pt modelId="{4ADF22E8-3100-462E-BD11-86CD665F8D0C}" type="pres">
      <dgm:prSet presAssocID="{8DAEB9DC-3CB1-4F23-B2DB-CA985410F4C2}" presName="vertSpace2a" presStyleCnt="0"/>
      <dgm:spPr/>
    </dgm:pt>
    <dgm:pt modelId="{E89453A4-B185-47D3-849E-E9CABF201404}" type="pres">
      <dgm:prSet presAssocID="{8DAEB9DC-3CB1-4F23-B2DB-CA985410F4C2}" presName="horz2" presStyleCnt="0"/>
      <dgm:spPr/>
    </dgm:pt>
    <dgm:pt modelId="{464B60E8-6366-42D9-A004-6BC91C48E882}" type="pres">
      <dgm:prSet presAssocID="{8DAEB9DC-3CB1-4F23-B2DB-CA985410F4C2}" presName="horzSpace2" presStyleCnt="0"/>
      <dgm:spPr/>
    </dgm:pt>
    <dgm:pt modelId="{84131AAB-2705-453B-9466-179E67A33C0A}" type="pres">
      <dgm:prSet presAssocID="{8DAEB9DC-3CB1-4F23-B2DB-CA985410F4C2}" presName="tx2" presStyleLbl="revTx" presStyleIdx="1" presStyleCnt="4"/>
      <dgm:spPr/>
      <dgm:t>
        <a:bodyPr/>
        <a:lstStyle/>
        <a:p>
          <a:endParaRPr lang="en-US"/>
        </a:p>
      </dgm:t>
    </dgm:pt>
    <dgm:pt modelId="{5AF543EF-8350-4780-A716-140E37046FB1}" type="pres">
      <dgm:prSet presAssocID="{8DAEB9DC-3CB1-4F23-B2DB-CA985410F4C2}" presName="vert2" presStyleCnt="0"/>
      <dgm:spPr/>
    </dgm:pt>
    <dgm:pt modelId="{81DB2667-891F-46F6-87CB-9D0638423E56}" type="pres">
      <dgm:prSet presAssocID="{8DAEB9DC-3CB1-4F23-B2DB-CA985410F4C2}" presName="thinLine2b" presStyleLbl="callout" presStyleIdx="0" presStyleCnt="3"/>
      <dgm:spPr/>
    </dgm:pt>
    <dgm:pt modelId="{E0DB8A00-2A7A-4B90-AC2F-B1E0849E1DBE}" type="pres">
      <dgm:prSet presAssocID="{8DAEB9DC-3CB1-4F23-B2DB-CA985410F4C2}" presName="vertSpace2b" presStyleCnt="0"/>
      <dgm:spPr/>
    </dgm:pt>
    <dgm:pt modelId="{C53C17A6-55AC-4EAA-9EA1-D63E2AAA0025}" type="pres">
      <dgm:prSet presAssocID="{B2A23F94-A4EC-4C97-BB35-F92B83B780A0}" presName="horz2" presStyleCnt="0"/>
      <dgm:spPr/>
    </dgm:pt>
    <dgm:pt modelId="{B4DE0A4A-DE8D-4CA4-A73D-F4986CE47A4E}" type="pres">
      <dgm:prSet presAssocID="{B2A23F94-A4EC-4C97-BB35-F92B83B780A0}" presName="horzSpace2" presStyleCnt="0"/>
      <dgm:spPr/>
    </dgm:pt>
    <dgm:pt modelId="{5B07DF82-DC38-4B52-A931-DAA4389F017B}" type="pres">
      <dgm:prSet presAssocID="{B2A23F94-A4EC-4C97-BB35-F92B83B780A0}" presName="tx2" presStyleLbl="revTx" presStyleIdx="2" presStyleCnt="4"/>
      <dgm:spPr/>
      <dgm:t>
        <a:bodyPr/>
        <a:lstStyle/>
        <a:p>
          <a:endParaRPr lang="en-US"/>
        </a:p>
      </dgm:t>
    </dgm:pt>
    <dgm:pt modelId="{10DDAC69-CCBF-4A78-814D-67B72EC11F79}" type="pres">
      <dgm:prSet presAssocID="{B2A23F94-A4EC-4C97-BB35-F92B83B780A0}" presName="vert2" presStyleCnt="0"/>
      <dgm:spPr/>
    </dgm:pt>
    <dgm:pt modelId="{6B27170D-1061-408B-8B34-5CBCA78B88AB}" type="pres">
      <dgm:prSet presAssocID="{B2A23F94-A4EC-4C97-BB35-F92B83B780A0}" presName="thinLine2b" presStyleLbl="callout" presStyleIdx="1" presStyleCnt="3"/>
      <dgm:spPr/>
    </dgm:pt>
    <dgm:pt modelId="{279E605E-E053-4D98-A68A-BD230BE9CCD2}" type="pres">
      <dgm:prSet presAssocID="{B2A23F94-A4EC-4C97-BB35-F92B83B780A0}" presName="vertSpace2b" presStyleCnt="0"/>
      <dgm:spPr/>
    </dgm:pt>
    <dgm:pt modelId="{65782B8B-C5CC-4EBB-9D1E-7859E80F1BB9}" type="pres">
      <dgm:prSet presAssocID="{27F56B54-934B-4E3A-8445-FA26BB3CE89C}" presName="horz2" presStyleCnt="0"/>
      <dgm:spPr/>
    </dgm:pt>
    <dgm:pt modelId="{8690290D-EA1F-4D6D-9F3C-3D0AB3CD5A1F}" type="pres">
      <dgm:prSet presAssocID="{27F56B54-934B-4E3A-8445-FA26BB3CE89C}" presName="horzSpace2" presStyleCnt="0"/>
      <dgm:spPr/>
    </dgm:pt>
    <dgm:pt modelId="{EBF3146E-A2AB-42BA-A1FD-33AF22DFB1C4}" type="pres">
      <dgm:prSet presAssocID="{27F56B54-934B-4E3A-8445-FA26BB3CE89C}" presName="tx2" presStyleLbl="revTx" presStyleIdx="3" presStyleCnt="4"/>
      <dgm:spPr/>
      <dgm:t>
        <a:bodyPr/>
        <a:lstStyle/>
        <a:p>
          <a:endParaRPr lang="en-US"/>
        </a:p>
      </dgm:t>
    </dgm:pt>
    <dgm:pt modelId="{1EA10885-9B8A-4B42-93B6-C1B58062C52F}" type="pres">
      <dgm:prSet presAssocID="{27F56B54-934B-4E3A-8445-FA26BB3CE89C}" presName="vert2" presStyleCnt="0"/>
      <dgm:spPr/>
    </dgm:pt>
    <dgm:pt modelId="{98DF41B8-5D6A-4631-BC1D-C5063401B9D3}" type="pres">
      <dgm:prSet presAssocID="{27F56B54-934B-4E3A-8445-FA26BB3CE89C}" presName="thinLine2b" presStyleLbl="callout" presStyleIdx="2" presStyleCnt="3"/>
      <dgm:spPr/>
    </dgm:pt>
    <dgm:pt modelId="{780B34CE-08A1-48D1-9003-65629E08C00F}" type="pres">
      <dgm:prSet presAssocID="{27F56B54-934B-4E3A-8445-FA26BB3CE89C}" presName="vertSpace2b" presStyleCnt="0"/>
      <dgm:spPr/>
    </dgm:pt>
  </dgm:ptLst>
  <dgm:cxnLst>
    <dgm:cxn modelId="{D479ABDE-EDBA-46B3-99F9-DF21A141CAF5}" srcId="{AA7F129A-39F8-4E37-A51A-8A89915D0C69}" destId="{B2A23F94-A4EC-4C97-BB35-F92B83B780A0}" srcOrd="1" destOrd="0" parTransId="{8F6F6E59-92AB-479B-BB5F-0F775359712A}" sibTransId="{41A893FE-0153-48B5-A0B0-D09CE5430403}"/>
    <dgm:cxn modelId="{12AC4C54-8688-4C2D-88A7-1E91D4B00D78}" type="presOf" srcId="{27F56B54-934B-4E3A-8445-FA26BB3CE89C}" destId="{EBF3146E-A2AB-42BA-A1FD-33AF22DFB1C4}" srcOrd="0" destOrd="0" presId="urn:microsoft.com/office/officeart/2008/layout/LinedList"/>
    <dgm:cxn modelId="{CDA2D0D8-F605-4EA0-B12C-74EB4870C248}" srcId="{AA7F129A-39F8-4E37-A51A-8A89915D0C69}" destId="{8DAEB9DC-3CB1-4F23-B2DB-CA985410F4C2}" srcOrd="0" destOrd="0" parTransId="{94297B8E-4E83-4E2C-881D-C820F5DD3E9A}" sibTransId="{E61B12C0-DD26-4203-838C-DC3BBEAF4A3F}"/>
    <dgm:cxn modelId="{5BD7F51D-51B0-491D-9A7E-62E915CB135A}" type="presOf" srcId="{B2A23F94-A4EC-4C97-BB35-F92B83B780A0}" destId="{5B07DF82-DC38-4B52-A931-DAA4389F017B}" srcOrd="0" destOrd="0" presId="urn:microsoft.com/office/officeart/2008/layout/LinedList"/>
    <dgm:cxn modelId="{0E8C992E-7BCF-4AF3-B86C-BD429208E5B3}" type="presOf" srcId="{50A5FF14-6E91-44FA-A51B-1C31DF6FC79F}" destId="{DC1747FD-EA5B-459F-BCA8-A4B901B6DCE8}" srcOrd="0" destOrd="0" presId="urn:microsoft.com/office/officeart/2008/layout/LinedList"/>
    <dgm:cxn modelId="{B92730E8-BBA6-4CC4-9228-702B64AABD1D}" type="presOf" srcId="{AA7F129A-39F8-4E37-A51A-8A89915D0C69}" destId="{44949010-F43F-4273-BF25-436505F95A4B}" srcOrd="0" destOrd="0" presId="urn:microsoft.com/office/officeart/2008/layout/LinedList"/>
    <dgm:cxn modelId="{E76A9518-2FAE-46BA-9C12-6E06DACB0B5D}" srcId="{50A5FF14-6E91-44FA-A51B-1C31DF6FC79F}" destId="{AA7F129A-39F8-4E37-A51A-8A89915D0C69}" srcOrd="0" destOrd="0" parTransId="{63BF66A6-09F3-4527-88E3-6381FFBE5AD5}" sibTransId="{BA214040-64A2-4A16-B651-4D733AFFE4C6}"/>
    <dgm:cxn modelId="{B35C8C81-F4A0-437D-A283-88248B7F72CC}" srcId="{AA7F129A-39F8-4E37-A51A-8A89915D0C69}" destId="{27F56B54-934B-4E3A-8445-FA26BB3CE89C}" srcOrd="2" destOrd="0" parTransId="{A57B0342-F409-4F18-9C32-BE569B2CEBC4}" sibTransId="{82F004CF-4B6A-4BA8-900D-93B379CE2B17}"/>
    <dgm:cxn modelId="{0D03DDB4-6575-47F9-AE6A-C6E9F789A458}" type="presOf" srcId="{8DAEB9DC-3CB1-4F23-B2DB-CA985410F4C2}" destId="{84131AAB-2705-453B-9466-179E67A33C0A}" srcOrd="0" destOrd="0" presId="urn:microsoft.com/office/officeart/2008/layout/LinedList"/>
    <dgm:cxn modelId="{64F70EA9-E0D5-417D-864C-31486F6A85AD}" type="presParOf" srcId="{DC1747FD-EA5B-459F-BCA8-A4B901B6DCE8}" destId="{5CF985C4-2067-4047-BA7D-3E7421B6ADF5}" srcOrd="0" destOrd="0" presId="urn:microsoft.com/office/officeart/2008/layout/LinedList"/>
    <dgm:cxn modelId="{C1B7A34D-530E-47A7-91D7-C800FA9815BF}" type="presParOf" srcId="{DC1747FD-EA5B-459F-BCA8-A4B901B6DCE8}" destId="{D309DAB1-D711-4676-B0C9-9800CF1508A1}" srcOrd="1" destOrd="0" presId="urn:microsoft.com/office/officeart/2008/layout/LinedList"/>
    <dgm:cxn modelId="{2C78FD2D-37D7-4369-91FA-1F840741056F}" type="presParOf" srcId="{D309DAB1-D711-4676-B0C9-9800CF1508A1}" destId="{44949010-F43F-4273-BF25-436505F95A4B}" srcOrd="0" destOrd="0" presId="urn:microsoft.com/office/officeart/2008/layout/LinedList"/>
    <dgm:cxn modelId="{B99417BA-4126-4209-9BEC-18AAB49DC406}" type="presParOf" srcId="{D309DAB1-D711-4676-B0C9-9800CF1508A1}" destId="{75D8827E-E612-4E90-9865-159664BEB206}" srcOrd="1" destOrd="0" presId="urn:microsoft.com/office/officeart/2008/layout/LinedList"/>
    <dgm:cxn modelId="{E02007E7-E1DF-4274-8FE0-6FB3C3A66081}" type="presParOf" srcId="{75D8827E-E612-4E90-9865-159664BEB206}" destId="{4ADF22E8-3100-462E-BD11-86CD665F8D0C}" srcOrd="0" destOrd="0" presId="urn:microsoft.com/office/officeart/2008/layout/LinedList"/>
    <dgm:cxn modelId="{DA0B616F-AE33-46D9-87A4-66944C690BC5}" type="presParOf" srcId="{75D8827E-E612-4E90-9865-159664BEB206}" destId="{E89453A4-B185-47D3-849E-E9CABF201404}" srcOrd="1" destOrd="0" presId="urn:microsoft.com/office/officeart/2008/layout/LinedList"/>
    <dgm:cxn modelId="{F54ADEE6-4C35-4068-B457-06954853783E}" type="presParOf" srcId="{E89453A4-B185-47D3-849E-E9CABF201404}" destId="{464B60E8-6366-42D9-A004-6BC91C48E882}" srcOrd="0" destOrd="0" presId="urn:microsoft.com/office/officeart/2008/layout/LinedList"/>
    <dgm:cxn modelId="{6FF1E083-4F64-4626-A4A1-D1744CE7C88C}" type="presParOf" srcId="{E89453A4-B185-47D3-849E-E9CABF201404}" destId="{84131AAB-2705-453B-9466-179E67A33C0A}" srcOrd="1" destOrd="0" presId="urn:microsoft.com/office/officeart/2008/layout/LinedList"/>
    <dgm:cxn modelId="{15E72954-81A2-41BE-9622-44DB2C7E3C38}" type="presParOf" srcId="{E89453A4-B185-47D3-849E-E9CABF201404}" destId="{5AF543EF-8350-4780-A716-140E37046FB1}" srcOrd="2" destOrd="0" presId="urn:microsoft.com/office/officeart/2008/layout/LinedList"/>
    <dgm:cxn modelId="{8CFAE725-CB2D-458A-BE93-2C98F9523048}" type="presParOf" srcId="{75D8827E-E612-4E90-9865-159664BEB206}" destId="{81DB2667-891F-46F6-87CB-9D0638423E56}" srcOrd="2" destOrd="0" presId="urn:microsoft.com/office/officeart/2008/layout/LinedList"/>
    <dgm:cxn modelId="{2B16B153-A7AB-4CBE-A623-3431AB9DF3CA}" type="presParOf" srcId="{75D8827E-E612-4E90-9865-159664BEB206}" destId="{E0DB8A00-2A7A-4B90-AC2F-B1E0849E1DBE}" srcOrd="3" destOrd="0" presId="urn:microsoft.com/office/officeart/2008/layout/LinedList"/>
    <dgm:cxn modelId="{48B75B82-327E-4C6A-B2A3-5E0777A35954}" type="presParOf" srcId="{75D8827E-E612-4E90-9865-159664BEB206}" destId="{C53C17A6-55AC-4EAA-9EA1-D63E2AAA0025}" srcOrd="4" destOrd="0" presId="urn:microsoft.com/office/officeart/2008/layout/LinedList"/>
    <dgm:cxn modelId="{9D2F8B5F-B814-460B-BD60-72E82C5EDD87}" type="presParOf" srcId="{C53C17A6-55AC-4EAA-9EA1-D63E2AAA0025}" destId="{B4DE0A4A-DE8D-4CA4-A73D-F4986CE47A4E}" srcOrd="0" destOrd="0" presId="urn:microsoft.com/office/officeart/2008/layout/LinedList"/>
    <dgm:cxn modelId="{198CF2CA-7868-4B1A-9C79-7FC025D662C3}" type="presParOf" srcId="{C53C17A6-55AC-4EAA-9EA1-D63E2AAA0025}" destId="{5B07DF82-DC38-4B52-A931-DAA4389F017B}" srcOrd="1" destOrd="0" presId="urn:microsoft.com/office/officeart/2008/layout/LinedList"/>
    <dgm:cxn modelId="{6FC61405-67FA-4EB3-B020-C7F0F8C81DE1}" type="presParOf" srcId="{C53C17A6-55AC-4EAA-9EA1-D63E2AAA0025}" destId="{10DDAC69-CCBF-4A78-814D-67B72EC11F79}" srcOrd="2" destOrd="0" presId="urn:microsoft.com/office/officeart/2008/layout/LinedList"/>
    <dgm:cxn modelId="{C326CF11-ACBF-4EDD-A856-014AE45B9E42}" type="presParOf" srcId="{75D8827E-E612-4E90-9865-159664BEB206}" destId="{6B27170D-1061-408B-8B34-5CBCA78B88AB}" srcOrd="5" destOrd="0" presId="urn:microsoft.com/office/officeart/2008/layout/LinedList"/>
    <dgm:cxn modelId="{DB6FC8BB-5A6D-4145-9947-950247A607E6}" type="presParOf" srcId="{75D8827E-E612-4E90-9865-159664BEB206}" destId="{279E605E-E053-4D98-A68A-BD230BE9CCD2}" srcOrd="6" destOrd="0" presId="urn:microsoft.com/office/officeart/2008/layout/LinedList"/>
    <dgm:cxn modelId="{C4E52D8A-6813-4340-A671-D88E53EE6846}" type="presParOf" srcId="{75D8827E-E612-4E90-9865-159664BEB206}" destId="{65782B8B-C5CC-4EBB-9D1E-7859E80F1BB9}" srcOrd="7" destOrd="0" presId="urn:microsoft.com/office/officeart/2008/layout/LinedList"/>
    <dgm:cxn modelId="{70D3588F-EDF3-4446-BD82-07ADA34DB50F}" type="presParOf" srcId="{65782B8B-C5CC-4EBB-9D1E-7859E80F1BB9}" destId="{8690290D-EA1F-4D6D-9F3C-3D0AB3CD5A1F}" srcOrd="0" destOrd="0" presId="urn:microsoft.com/office/officeart/2008/layout/LinedList"/>
    <dgm:cxn modelId="{7388A15E-8058-4758-BB39-087AF4941A8A}" type="presParOf" srcId="{65782B8B-C5CC-4EBB-9D1E-7859E80F1BB9}" destId="{EBF3146E-A2AB-42BA-A1FD-33AF22DFB1C4}" srcOrd="1" destOrd="0" presId="urn:microsoft.com/office/officeart/2008/layout/LinedList"/>
    <dgm:cxn modelId="{A2307528-666B-47DC-86DC-C747CCC196CA}" type="presParOf" srcId="{65782B8B-C5CC-4EBB-9D1E-7859E80F1BB9}" destId="{1EA10885-9B8A-4B42-93B6-C1B58062C52F}" srcOrd="2" destOrd="0" presId="urn:microsoft.com/office/officeart/2008/layout/LinedList"/>
    <dgm:cxn modelId="{90E2B0D1-04EF-4084-ACA8-25641E7E91EC}" type="presParOf" srcId="{75D8827E-E612-4E90-9865-159664BEB206}" destId="{98DF41B8-5D6A-4631-BC1D-C5063401B9D3}" srcOrd="8" destOrd="0" presId="urn:microsoft.com/office/officeart/2008/layout/LinedList"/>
    <dgm:cxn modelId="{270E6A4C-3EC7-4E60-A06C-32052B2294A8}" type="presParOf" srcId="{75D8827E-E612-4E90-9865-159664BEB206}" destId="{780B34CE-08A1-48D1-9003-65629E08C00F}" srcOrd="9"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B0A0F3D9-413E-4E63-9B97-3C0249C5848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F6D8DA83-5FBC-4B88-97BE-77BA73486B12}">
      <dgm:prSet phldrT="[Текст]"/>
      <dgm:spPr/>
      <dgm:t>
        <a:bodyPr/>
        <a:lstStyle/>
        <a:p>
          <a:r>
            <a:rPr lang="uk-UA" b="0" i="0" noProof="0" dirty="0">
              <a:solidFill>
                <a:schemeClr val="tx1"/>
              </a:solidFill>
            </a:rPr>
            <a:t>Призупинення дії трудового договору - це тимчасове припинення роботодавцем забезпечення працівника роботою і тимчасове припинення працівником виконання роботи за укладеним трудовим договором у зв`язку із збройною агресією проти України, що виключає можливість обох сторін трудових відносин виконувати обов`язки, передбачені трудовим договором.</a:t>
          </a:r>
          <a:endParaRPr lang="uk-UA" noProof="0" dirty="0">
            <a:solidFill>
              <a:schemeClr val="tx1"/>
            </a:solidFill>
          </a:endParaRPr>
        </a:p>
      </dgm:t>
    </dgm:pt>
    <dgm:pt modelId="{43A22EA0-CC57-49A7-A0C0-F18EB68E5774}" type="parTrans" cxnId="{82A351C7-A90C-45BB-9631-0CAFBECA2DA6}">
      <dgm:prSet/>
      <dgm:spPr/>
      <dgm:t>
        <a:bodyPr/>
        <a:lstStyle/>
        <a:p>
          <a:endParaRPr lang="ru-UA"/>
        </a:p>
      </dgm:t>
    </dgm:pt>
    <dgm:pt modelId="{D14F2959-4035-4C60-9D86-33DD7F8E56B9}" type="sibTrans" cxnId="{82A351C7-A90C-45BB-9631-0CAFBECA2DA6}">
      <dgm:prSet/>
      <dgm:spPr/>
      <dgm:t>
        <a:bodyPr/>
        <a:lstStyle/>
        <a:p>
          <a:endParaRPr lang="ru-UA"/>
        </a:p>
      </dgm:t>
    </dgm:pt>
    <dgm:pt modelId="{94A9C312-6F4A-4166-B4D3-5FEBC943C088}">
      <dgm:prSet phldrT="[Текст]" custT="1"/>
      <dgm:spPr/>
      <dgm:t>
        <a:bodyPr/>
        <a:lstStyle/>
        <a:p>
          <a:r>
            <a:rPr lang="uk-UA" sz="3600" b="0" i="0" noProof="0" dirty="0"/>
            <a:t>Призупинення дії трудового договору може здійснюватися за ініціативи однієї із сторін на строк не більше ніж період дії воєнного стану. </a:t>
          </a:r>
          <a:endParaRPr lang="uk-UA" sz="3600" noProof="0" dirty="0"/>
        </a:p>
      </dgm:t>
    </dgm:pt>
    <dgm:pt modelId="{ACC22CB6-1EDF-4833-BC93-4B96397427E2}" type="parTrans" cxnId="{F212BA99-8846-4EE6-A6FF-68E1296527C4}">
      <dgm:prSet/>
      <dgm:spPr/>
      <dgm:t>
        <a:bodyPr/>
        <a:lstStyle/>
        <a:p>
          <a:endParaRPr lang="ru-UA"/>
        </a:p>
      </dgm:t>
    </dgm:pt>
    <dgm:pt modelId="{4C984251-F335-43EE-9C44-EF3C05EEB94F}" type="sibTrans" cxnId="{F212BA99-8846-4EE6-A6FF-68E1296527C4}">
      <dgm:prSet/>
      <dgm:spPr/>
      <dgm:t>
        <a:bodyPr/>
        <a:lstStyle/>
        <a:p>
          <a:endParaRPr lang="ru-UA"/>
        </a:p>
      </dgm:t>
    </dgm:pt>
    <dgm:pt modelId="{CADAEC4A-AFFE-4F93-93D7-A8D40A817D31}">
      <dgm:prSet phldrT="[Текст]"/>
      <dgm:spPr/>
      <dgm:t>
        <a:bodyPr/>
        <a:lstStyle/>
        <a:p>
          <a:r>
            <a:rPr lang="uk-UA" b="0" i="0" noProof="0" dirty="0">
              <a:solidFill>
                <a:schemeClr val="tx1"/>
              </a:solidFill>
            </a:rPr>
            <a:t>Призупинення дії трудового договору не тягне за собою припинення трудових відносин.</a:t>
          </a:r>
          <a:endParaRPr lang="uk-UA" noProof="0" dirty="0">
            <a:solidFill>
              <a:schemeClr val="tx1"/>
            </a:solidFill>
          </a:endParaRPr>
        </a:p>
      </dgm:t>
    </dgm:pt>
    <dgm:pt modelId="{BFECEF25-A204-4650-8F8D-A99B13A765A0}" type="parTrans" cxnId="{CE87D798-03AD-47F2-8B13-A88C897A1FB0}">
      <dgm:prSet/>
      <dgm:spPr/>
      <dgm:t>
        <a:bodyPr/>
        <a:lstStyle/>
        <a:p>
          <a:endParaRPr lang="ru-UA"/>
        </a:p>
      </dgm:t>
    </dgm:pt>
    <dgm:pt modelId="{64C748EC-83ED-4BD7-97AE-E2DB83B5D516}" type="sibTrans" cxnId="{CE87D798-03AD-47F2-8B13-A88C897A1FB0}">
      <dgm:prSet/>
      <dgm:spPr/>
      <dgm:t>
        <a:bodyPr/>
        <a:lstStyle/>
        <a:p>
          <a:endParaRPr lang="ru-UA"/>
        </a:p>
      </dgm:t>
    </dgm:pt>
    <dgm:pt modelId="{BC5BE6F5-A201-4165-9963-49B392C6EC70}">
      <dgm:prSet phldrT="[Текст]" custT="1"/>
      <dgm:spPr/>
      <dgm:t>
        <a:bodyPr/>
        <a:lstStyle/>
        <a:p>
          <a:r>
            <a:rPr lang="uk-UA" sz="3600" b="0" i="0" noProof="0" dirty="0"/>
            <a:t>Призупинення дії трудового договору не може бути прихованим покаранням і не застосовується до керівників та заступників керівників державних органів, а також посадових осіб місцевого самоврядування, які обіймають виборні посади.</a:t>
          </a:r>
          <a:endParaRPr lang="uk-UA" sz="3600" noProof="0" dirty="0"/>
        </a:p>
      </dgm:t>
    </dgm:pt>
    <dgm:pt modelId="{E042DEE3-3D06-4209-AAAF-1C54E5D224C9}" type="parTrans" cxnId="{B7A9F4CF-3207-4F15-A707-ED8DA0BA8D44}">
      <dgm:prSet/>
      <dgm:spPr/>
      <dgm:t>
        <a:bodyPr/>
        <a:lstStyle/>
        <a:p>
          <a:endParaRPr lang="ru-UA"/>
        </a:p>
      </dgm:t>
    </dgm:pt>
    <dgm:pt modelId="{EF536A02-CFCA-4CA3-9B4A-BAC8EBBE81B1}" type="sibTrans" cxnId="{B7A9F4CF-3207-4F15-A707-ED8DA0BA8D44}">
      <dgm:prSet/>
      <dgm:spPr/>
      <dgm:t>
        <a:bodyPr/>
        <a:lstStyle/>
        <a:p>
          <a:endParaRPr lang="ru-UA"/>
        </a:p>
      </dgm:t>
    </dgm:pt>
    <dgm:pt modelId="{3A9E3C6C-EF5C-464A-A4BA-4E9BA3777422}" type="pres">
      <dgm:prSet presAssocID="{B0A0F3D9-413E-4E63-9B97-3C0249C58489}" presName="linear" presStyleCnt="0">
        <dgm:presLayoutVars>
          <dgm:animLvl val="lvl"/>
          <dgm:resizeHandles val="exact"/>
        </dgm:presLayoutVars>
      </dgm:prSet>
      <dgm:spPr/>
      <dgm:t>
        <a:bodyPr/>
        <a:lstStyle/>
        <a:p>
          <a:endParaRPr lang="en-US"/>
        </a:p>
      </dgm:t>
    </dgm:pt>
    <dgm:pt modelId="{6D476C98-66B2-4071-87BD-C900196035CA}" type="pres">
      <dgm:prSet presAssocID="{F6D8DA83-5FBC-4B88-97BE-77BA73486B12}" presName="parentText" presStyleLbl="node1" presStyleIdx="0" presStyleCnt="2">
        <dgm:presLayoutVars>
          <dgm:chMax val="0"/>
          <dgm:bulletEnabled val="1"/>
        </dgm:presLayoutVars>
      </dgm:prSet>
      <dgm:spPr/>
      <dgm:t>
        <a:bodyPr/>
        <a:lstStyle/>
        <a:p>
          <a:endParaRPr lang="en-US"/>
        </a:p>
      </dgm:t>
    </dgm:pt>
    <dgm:pt modelId="{2E5F7BCE-65B0-4293-938A-C34D466531C3}" type="pres">
      <dgm:prSet presAssocID="{F6D8DA83-5FBC-4B88-97BE-77BA73486B12}" presName="childText" presStyleLbl="revTx" presStyleIdx="0" presStyleCnt="2">
        <dgm:presLayoutVars>
          <dgm:bulletEnabled val="1"/>
        </dgm:presLayoutVars>
      </dgm:prSet>
      <dgm:spPr/>
      <dgm:t>
        <a:bodyPr/>
        <a:lstStyle/>
        <a:p>
          <a:endParaRPr lang="en-US"/>
        </a:p>
      </dgm:t>
    </dgm:pt>
    <dgm:pt modelId="{164C48F5-6D9C-440A-817F-84F936FA9D9B}" type="pres">
      <dgm:prSet presAssocID="{CADAEC4A-AFFE-4F93-93D7-A8D40A817D31}" presName="parentText" presStyleLbl="node1" presStyleIdx="1" presStyleCnt="2">
        <dgm:presLayoutVars>
          <dgm:chMax val="0"/>
          <dgm:bulletEnabled val="1"/>
        </dgm:presLayoutVars>
      </dgm:prSet>
      <dgm:spPr/>
      <dgm:t>
        <a:bodyPr/>
        <a:lstStyle/>
        <a:p>
          <a:endParaRPr lang="en-US"/>
        </a:p>
      </dgm:t>
    </dgm:pt>
    <dgm:pt modelId="{28001010-8508-476D-80EF-6462BB08F942}" type="pres">
      <dgm:prSet presAssocID="{CADAEC4A-AFFE-4F93-93D7-A8D40A817D31}" presName="childText" presStyleLbl="revTx" presStyleIdx="1" presStyleCnt="2">
        <dgm:presLayoutVars>
          <dgm:bulletEnabled val="1"/>
        </dgm:presLayoutVars>
      </dgm:prSet>
      <dgm:spPr/>
      <dgm:t>
        <a:bodyPr/>
        <a:lstStyle/>
        <a:p>
          <a:endParaRPr lang="en-US"/>
        </a:p>
      </dgm:t>
    </dgm:pt>
  </dgm:ptLst>
  <dgm:cxnLst>
    <dgm:cxn modelId="{82A351C7-A90C-45BB-9631-0CAFBECA2DA6}" srcId="{B0A0F3D9-413E-4E63-9B97-3C0249C58489}" destId="{F6D8DA83-5FBC-4B88-97BE-77BA73486B12}" srcOrd="0" destOrd="0" parTransId="{43A22EA0-CC57-49A7-A0C0-F18EB68E5774}" sibTransId="{D14F2959-4035-4C60-9D86-33DD7F8E56B9}"/>
    <dgm:cxn modelId="{325CDB60-BA9C-4178-BB15-F53F803D851D}" type="presOf" srcId="{F6D8DA83-5FBC-4B88-97BE-77BA73486B12}" destId="{6D476C98-66B2-4071-87BD-C900196035CA}" srcOrd="0" destOrd="0" presId="urn:microsoft.com/office/officeart/2005/8/layout/vList2"/>
    <dgm:cxn modelId="{828221BC-92AA-43EB-8B82-2DB1A39AF08A}" type="presOf" srcId="{CADAEC4A-AFFE-4F93-93D7-A8D40A817D31}" destId="{164C48F5-6D9C-440A-817F-84F936FA9D9B}" srcOrd="0" destOrd="0" presId="urn:microsoft.com/office/officeart/2005/8/layout/vList2"/>
    <dgm:cxn modelId="{C9B1FC34-5CFD-4ACC-815A-516FECEDA1A9}" type="presOf" srcId="{B0A0F3D9-413E-4E63-9B97-3C0249C58489}" destId="{3A9E3C6C-EF5C-464A-A4BA-4E9BA3777422}" srcOrd="0" destOrd="0" presId="urn:microsoft.com/office/officeart/2005/8/layout/vList2"/>
    <dgm:cxn modelId="{CE87D798-03AD-47F2-8B13-A88C897A1FB0}" srcId="{B0A0F3D9-413E-4E63-9B97-3C0249C58489}" destId="{CADAEC4A-AFFE-4F93-93D7-A8D40A817D31}" srcOrd="1" destOrd="0" parTransId="{BFECEF25-A204-4650-8F8D-A99B13A765A0}" sibTransId="{64C748EC-83ED-4BD7-97AE-E2DB83B5D516}"/>
    <dgm:cxn modelId="{F212BA99-8846-4EE6-A6FF-68E1296527C4}" srcId="{F6D8DA83-5FBC-4B88-97BE-77BA73486B12}" destId="{94A9C312-6F4A-4166-B4D3-5FEBC943C088}" srcOrd="0" destOrd="0" parTransId="{ACC22CB6-1EDF-4833-BC93-4B96397427E2}" sibTransId="{4C984251-F335-43EE-9C44-EF3C05EEB94F}"/>
    <dgm:cxn modelId="{9A0BB683-E4BB-4A55-9A21-B4241567D2B3}" type="presOf" srcId="{BC5BE6F5-A201-4165-9963-49B392C6EC70}" destId="{28001010-8508-476D-80EF-6462BB08F942}" srcOrd="0" destOrd="0" presId="urn:microsoft.com/office/officeart/2005/8/layout/vList2"/>
    <dgm:cxn modelId="{5DAAD9A3-9ECD-4036-95E7-A07F95ED3B54}" type="presOf" srcId="{94A9C312-6F4A-4166-B4D3-5FEBC943C088}" destId="{2E5F7BCE-65B0-4293-938A-C34D466531C3}" srcOrd="0" destOrd="0" presId="urn:microsoft.com/office/officeart/2005/8/layout/vList2"/>
    <dgm:cxn modelId="{B7A9F4CF-3207-4F15-A707-ED8DA0BA8D44}" srcId="{CADAEC4A-AFFE-4F93-93D7-A8D40A817D31}" destId="{BC5BE6F5-A201-4165-9963-49B392C6EC70}" srcOrd="0" destOrd="0" parTransId="{E042DEE3-3D06-4209-AAAF-1C54E5D224C9}" sibTransId="{EF536A02-CFCA-4CA3-9B4A-BAC8EBBE81B1}"/>
    <dgm:cxn modelId="{26A190C5-912E-42D3-8CB7-B8420481CC24}" type="presParOf" srcId="{3A9E3C6C-EF5C-464A-A4BA-4E9BA3777422}" destId="{6D476C98-66B2-4071-87BD-C900196035CA}" srcOrd="0" destOrd="0" presId="urn:microsoft.com/office/officeart/2005/8/layout/vList2"/>
    <dgm:cxn modelId="{0A9B140B-A1F5-48C2-8835-8B20EC1D1E05}" type="presParOf" srcId="{3A9E3C6C-EF5C-464A-A4BA-4E9BA3777422}" destId="{2E5F7BCE-65B0-4293-938A-C34D466531C3}" srcOrd="1" destOrd="0" presId="urn:microsoft.com/office/officeart/2005/8/layout/vList2"/>
    <dgm:cxn modelId="{9FBBA07D-1135-4517-9B40-D8417494AD24}" type="presParOf" srcId="{3A9E3C6C-EF5C-464A-A4BA-4E9BA3777422}" destId="{164C48F5-6D9C-440A-817F-84F936FA9D9B}" srcOrd="2" destOrd="0" presId="urn:microsoft.com/office/officeart/2005/8/layout/vList2"/>
    <dgm:cxn modelId="{0659BE29-70F7-4418-8F9B-EC9297F0DB68}" type="presParOf" srcId="{3A9E3C6C-EF5C-464A-A4BA-4E9BA3777422}" destId="{28001010-8508-476D-80EF-6462BB08F942}"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B0A0F3D9-413E-4E63-9B97-3C0249C5848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F6D8DA83-5FBC-4B88-97BE-77BA73486B12}">
      <dgm:prSet phldrT="[Текст]"/>
      <dgm:spPr/>
      <dgm:t>
        <a:bodyPr/>
        <a:lstStyle/>
        <a:p>
          <a:r>
            <a:rPr lang="uk-UA" b="0" i="0" noProof="0" dirty="0">
              <a:solidFill>
                <a:schemeClr val="tx1"/>
              </a:solidFill>
            </a:rPr>
            <a:t>Таке право роботодавця не є абсолютним. Головною умовою призупинення трудового договору з працівником, є абсолютна неможливість роботодавця надати роботу, а працівника - виконувати її.</a:t>
          </a:r>
          <a:endParaRPr lang="uk-UA" noProof="0" dirty="0">
            <a:solidFill>
              <a:schemeClr val="tx1"/>
            </a:solidFill>
          </a:endParaRPr>
        </a:p>
      </dgm:t>
    </dgm:pt>
    <dgm:pt modelId="{43A22EA0-CC57-49A7-A0C0-F18EB68E5774}" type="parTrans" cxnId="{82A351C7-A90C-45BB-9631-0CAFBECA2DA6}">
      <dgm:prSet/>
      <dgm:spPr/>
      <dgm:t>
        <a:bodyPr/>
        <a:lstStyle/>
        <a:p>
          <a:endParaRPr lang="ru-UA"/>
        </a:p>
      </dgm:t>
    </dgm:pt>
    <dgm:pt modelId="{D14F2959-4035-4C60-9D86-33DD7F8E56B9}" type="sibTrans" cxnId="{82A351C7-A90C-45BB-9631-0CAFBECA2DA6}">
      <dgm:prSet/>
      <dgm:spPr/>
      <dgm:t>
        <a:bodyPr/>
        <a:lstStyle/>
        <a:p>
          <a:endParaRPr lang="ru-UA"/>
        </a:p>
      </dgm:t>
    </dgm:pt>
    <dgm:pt modelId="{94A9C312-6F4A-4166-B4D3-5FEBC943C088}">
      <dgm:prSet phldrT="[Текст]" custT="1"/>
      <dgm:spPr/>
      <dgm:t>
        <a:bodyPr/>
        <a:lstStyle/>
        <a:p>
          <a:r>
            <a:rPr lang="uk-UA" sz="3600" b="0" i="0" noProof="0" dirty="0"/>
            <a:t>Головною умовою для призупинення дії трудового договору є абсолютна неможливість надання роботодавцем та виконання працівником відповідної роботи. Призупинення дії трудового договору не тягне за собою припинення трудових відносин, а також виконання інших обов`язків, передбачених трудовим договором.</a:t>
          </a:r>
          <a:endParaRPr lang="uk-UA" sz="3600" noProof="0" dirty="0"/>
        </a:p>
      </dgm:t>
    </dgm:pt>
    <dgm:pt modelId="{ACC22CB6-1EDF-4833-BC93-4B96397427E2}" type="parTrans" cxnId="{F212BA99-8846-4EE6-A6FF-68E1296527C4}">
      <dgm:prSet/>
      <dgm:spPr/>
      <dgm:t>
        <a:bodyPr/>
        <a:lstStyle/>
        <a:p>
          <a:endParaRPr lang="ru-UA"/>
        </a:p>
      </dgm:t>
    </dgm:pt>
    <dgm:pt modelId="{4C984251-F335-43EE-9C44-EF3C05EEB94F}" type="sibTrans" cxnId="{F212BA99-8846-4EE6-A6FF-68E1296527C4}">
      <dgm:prSet/>
      <dgm:spPr/>
      <dgm:t>
        <a:bodyPr/>
        <a:lstStyle/>
        <a:p>
          <a:endParaRPr lang="ru-UA"/>
        </a:p>
      </dgm:t>
    </dgm:pt>
    <dgm:pt modelId="{3A9E3C6C-EF5C-464A-A4BA-4E9BA3777422}" type="pres">
      <dgm:prSet presAssocID="{B0A0F3D9-413E-4E63-9B97-3C0249C58489}" presName="linear" presStyleCnt="0">
        <dgm:presLayoutVars>
          <dgm:animLvl val="lvl"/>
          <dgm:resizeHandles val="exact"/>
        </dgm:presLayoutVars>
      </dgm:prSet>
      <dgm:spPr/>
      <dgm:t>
        <a:bodyPr/>
        <a:lstStyle/>
        <a:p>
          <a:endParaRPr lang="en-US"/>
        </a:p>
      </dgm:t>
    </dgm:pt>
    <dgm:pt modelId="{6D476C98-66B2-4071-87BD-C900196035CA}" type="pres">
      <dgm:prSet presAssocID="{F6D8DA83-5FBC-4B88-97BE-77BA73486B12}" presName="parentText" presStyleLbl="node1" presStyleIdx="0" presStyleCnt="1">
        <dgm:presLayoutVars>
          <dgm:chMax val="0"/>
          <dgm:bulletEnabled val="1"/>
        </dgm:presLayoutVars>
      </dgm:prSet>
      <dgm:spPr/>
      <dgm:t>
        <a:bodyPr/>
        <a:lstStyle/>
        <a:p>
          <a:endParaRPr lang="en-US"/>
        </a:p>
      </dgm:t>
    </dgm:pt>
    <dgm:pt modelId="{2E5F7BCE-65B0-4293-938A-C34D466531C3}" type="pres">
      <dgm:prSet presAssocID="{F6D8DA83-5FBC-4B88-97BE-77BA73486B12}" presName="childText" presStyleLbl="revTx" presStyleIdx="0" presStyleCnt="1">
        <dgm:presLayoutVars>
          <dgm:bulletEnabled val="1"/>
        </dgm:presLayoutVars>
      </dgm:prSet>
      <dgm:spPr/>
      <dgm:t>
        <a:bodyPr/>
        <a:lstStyle/>
        <a:p>
          <a:endParaRPr lang="en-US"/>
        </a:p>
      </dgm:t>
    </dgm:pt>
  </dgm:ptLst>
  <dgm:cxnLst>
    <dgm:cxn modelId="{5DAAD9A3-9ECD-4036-95E7-A07F95ED3B54}" type="presOf" srcId="{94A9C312-6F4A-4166-B4D3-5FEBC943C088}" destId="{2E5F7BCE-65B0-4293-938A-C34D466531C3}" srcOrd="0" destOrd="0" presId="urn:microsoft.com/office/officeart/2005/8/layout/vList2"/>
    <dgm:cxn modelId="{325CDB60-BA9C-4178-BB15-F53F803D851D}" type="presOf" srcId="{F6D8DA83-5FBC-4B88-97BE-77BA73486B12}" destId="{6D476C98-66B2-4071-87BD-C900196035CA}" srcOrd="0" destOrd="0" presId="urn:microsoft.com/office/officeart/2005/8/layout/vList2"/>
    <dgm:cxn modelId="{C9B1FC34-5CFD-4ACC-815A-516FECEDA1A9}" type="presOf" srcId="{B0A0F3D9-413E-4E63-9B97-3C0249C58489}" destId="{3A9E3C6C-EF5C-464A-A4BA-4E9BA3777422}" srcOrd="0" destOrd="0" presId="urn:microsoft.com/office/officeart/2005/8/layout/vList2"/>
    <dgm:cxn modelId="{F212BA99-8846-4EE6-A6FF-68E1296527C4}" srcId="{F6D8DA83-5FBC-4B88-97BE-77BA73486B12}" destId="{94A9C312-6F4A-4166-B4D3-5FEBC943C088}" srcOrd="0" destOrd="0" parTransId="{ACC22CB6-1EDF-4833-BC93-4B96397427E2}" sibTransId="{4C984251-F335-43EE-9C44-EF3C05EEB94F}"/>
    <dgm:cxn modelId="{82A351C7-A90C-45BB-9631-0CAFBECA2DA6}" srcId="{B0A0F3D9-413E-4E63-9B97-3C0249C58489}" destId="{F6D8DA83-5FBC-4B88-97BE-77BA73486B12}" srcOrd="0" destOrd="0" parTransId="{43A22EA0-CC57-49A7-A0C0-F18EB68E5774}" sibTransId="{D14F2959-4035-4C60-9D86-33DD7F8E56B9}"/>
    <dgm:cxn modelId="{26A190C5-912E-42D3-8CB7-B8420481CC24}" type="presParOf" srcId="{3A9E3C6C-EF5C-464A-A4BA-4E9BA3777422}" destId="{6D476C98-66B2-4071-87BD-C900196035CA}" srcOrd="0" destOrd="0" presId="urn:microsoft.com/office/officeart/2005/8/layout/vList2"/>
    <dgm:cxn modelId="{0A9B140B-A1F5-48C2-8835-8B20EC1D1E05}" type="presParOf" srcId="{3A9E3C6C-EF5C-464A-A4BA-4E9BA3777422}" destId="{2E5F7BCE-65B0-4293-938A-C34D466531C3}"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445C263F-915C-4719-B803-201518D9C584}"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ru-UA"/>
        </a:p>
      </dgm:t>
    </dgm:pt>
    <dgm:pt modelId="{9D6F1614-B7E3-4166-A033-BEE74A3ECDA3}">
      <dgm:prSet phldrT="[Текст]"/>
      <dgm:spPr/>
      <dgm:t>
        <a:bodyPr/>
        <a:lstStyle/>
        <a:p>
          <a:r>
            <a:rPr lang="uk-UA" noProof="0" dirty="0"/>
            <a:t>Позов задовольнити частково</a:t>
          </a:r>
        </a:p>
      </dgm:t>
    </dgm:pt>
    <dgm:pt modelId="{6AD0B29E-C478-46D5-9AB2-A64CC432B625}" type="parTrans" cxnId="{BC53F2DB-333E-451C-895A-67BCAD89A7A1}">
      <dgm:prSet/>
      <dgm:spPr/>
      <dgm:t>
        <a:bodyPr/>
        <a:lstStyle/>
        <a:p>
          <a:endParaRPr lang="ru-UA"/>
        </a:p>
      </dgm:t>
    </dgm:pt>
    <dgm:pt modelId="{A1F976C2-2487-4E6C-9935-B5ECB5A13F21}" type="sibTrans" cxnId="{BC53F2DB-333E-451C-895A-67BCAD89A7A1}">
      <dgm:prSet/>
      <dgm:spPr/>
      <dgm:t>
        <a:bodyPr/>
        <a:lstStyle/>
        <a:p>
          <a:endParaRPr lang="ru-UA"/>
        </a:p>
      </dgm:t>
    </dgm:pt>
    <dgm:pt modelId="{03DF2B9F-AAC3-4718-8384-3803BAA05B43}">
      <dgm:prSet phldrT="[Текст]"/>
      <dgm:spPr/>
      <dgm:t>
        <a:bodyPr/>
        <a:lstStyle/>
        <a:p>
          <a:r>
            <a:rPr lang="uk-UA" noProof="0" dirty="0"/>
            <a:t>Наказ визнати незаконним та скасувати</a:t>
          </a:r>
        </a:p>
      </dgm:t>
    </dgm:pt>
    <dgm:pt modelId="{35DC6503-63CF-4716-9216-6AEC93A48359}" type="parTrans" cxnId="{59EB33DF-FC6F-4B57-985A-A42BB92BB231}">
      <dgm:prSet/>
      <dgm:spPr/>
      <dgm:t>
        <a:bodyPr/>
        <a:lstStyle/>
        <a:p>
          <a:endParaRPr lang="ru-UA"/>
        </a:p>
      </dgm:t>
    </dgm:pt>
    <dgm:pt modelId="{DB63471B-9E89-4B75-AA01-E418C54DE2E8}" type="sibTrans" cxnId="{59EB33DF-FC6F-4B57-985A-A42BB92BB231}">
      <dgm:prSet/>
      <dgm:spPr/>
      <dgm:t>
        <a:bodyPr/>
        <a:lstStyle/>
        <a:p>
          <a:endParaRPr lang="ru-UA"/>
        </a:p>
      </dgm:t>
    </dgm:pt>
    <dgm:pt modelId="{09155000-1C2C-425E-A06D-BABC9EA071C2}">
      <dgm:prSet phldrT="[Текст]"/>
      <dgm:spPr/>
      <dgm:t>
        <a:bodyPr/>
        <a:lstStyle/>
        <a:p>
          <a:r>
            <a:rPr lang="uk-UA" b="0" i="0" noProof="0" dirty="0"/>
            <a:t>Зобов’язати відповідача нарахувати та виплатити середню заробітну плату за час вимушеного прогулу.</a:t>
          </a:r>
          <a:endParaRPr lang="uk-UA" noProof="0" dirty="0"/>
        </a:p>
      </dgm:t>
    </dgm:pt>
    <dgm:pt modelId="{5EC8D210-418F-476F-93F1-49705D4A51DF}" type="parTrans" cxnId="{27A92A0F-ACF1-430B-9AFF-E26F117C691B}">
      <dgm:prSet/>
      <dgm:spPr/>
    </dgm:pt>
    <dgm:pt modelId="{9AC6A358-2CFE-4696-958F-6E7ABEB73F9E}" type="sibTrans" cxnId="{27A92A0F-ACF1-430B-9AFF-E26F117C691B}">
      <dgm:prSet/>
      <dgm:spPr/>
    </dgm:pt>
    <dgm:pt modelId="{206D76B1-AA1E-4C05-B2CB-0CBB10F7A638}">
      <dgm:prSet phldrT="[Текст]"/>
      <dgm:spPr/>
      <dgm:t>
        <a:bodyPr/>
        <a:lstStyle/>
        <a:p>
          <a:r>
            <a:rPr lang="uk-UA" noProof="0" dirty="0"/>
            <a:t>Стягнути судовий збір</a:t>
          </a:r>
        </a:p>
      </dgm:t>
    </dgm:pt>
    <dgm:pt modelId="{4758A2AA-F25D-48C0-BB3A-BFA84B3768EB}" type="parTrans" cxnId="{B62A70F1-4E1F-4AF4-961A-0E414BF31516}">
      <dgm:prSet/>
      <dgm:spPr/>
    </dgm:pt>
    <dgm:pt modelId="{AABBE040-B932-4CDE-98D2-6D8C9423816B}" type="sibTrans" cxnId="{B62A70F1-4E1F-4AF4-961A-0E414BF31516}">
      <dgm:prSet/>
      <dgm:spPr/>
    </dgm:pt>
    <dgm:pt modelId="{2AE84C96-F1CC-47F6-8A80-263DF5C071D6}" type="pres">
      <dgm:prSet presAssocID="{445C263F-915C-4719-B803-201518D9C584}" presName="rootnode" presStyleCnt="0">
        <dgm:presLayoutVars>
          <dgm:chMax/>
          <dgm:chPref/>
          <dgm:dir/>
          <dgm:animLvl val="lvl"/>
        </dgm:presLayoutVars>
      </dgm:prSet>
      <dgm:spPr/>
      <dgm:t>
        <a:bodyPr/>
        <a:lstStyle/>
        <a:p>
          <a:endParaRPr lang="en-US"/>
        </a:p>
      </dgm:t>
    </dgm:pt>
    <dgm:pt modelId="{027F436E-F60E-4FEB-A238-9BBAAAA1871E}" type="pres">
      <dgm:prSet presAssocID="{9D6F1614-B7E3-4166-A033-BEE74A3ECDA3}" presName="composite" presStyleCnt="0"/>
      <dgm:spPr/>
    </dgm:pt>
    <dgm:pt modelId="{6E862C84-9419-4108-8F83-43E4E180EB19}" type="pres">
      <dgm:prSet presAssocID="{9D6F1614-B7E3-4166-A033-BEE74A3ECDA3}" presName="LShape" presStyleLbl="alignNode1" presStyleIdx="0" presStyleCnt="7"/>
      <dgm:spPr/>
    </dgm:pt>
    <dgm:pt modelId="{00E99759-AF57-4683-B740-A753C1B8EA17}" type="pres">
      <dgm:prSet presAssocID="{9D6F1614-B7E3-4166-A033-BEE74A3ECDA3}" presName="ParentText" presStyleLbl="revTx" presStyleIdx="0" presStyleCnt="4">
        <dgm:presLayoutVars>
          <dgm:chMax val="0"/>
          <dgm:chPref val="0"/>
          <dgm:bulletEnabled val="1"/>
        </dgm:presLayoutVars>
      </dgm:prSet>
      <dgm:spPr/>
      <dgm:t>
        <a:bodyPr/>
        <a:lstStyle/>
        <a:p>
          <a:endParaRPr lang="en-US"/>
        </a:p>
      </dgm:t>
    </dgm:pt>
    <dgm:pt modelId="{4AABF11A-928C-46D7-818D-C0E5A550E661}" type="pres">
      <dgm:prSet presAssocID="{9D6F1614-B7E3-4166-A033-BEE74A3ECDA3}" presName="Triangle" presStyleLbl="alignNode1" presStyleIdx="1" presStyleCnt="7"/>
      <dgm:spPr/>
    </dgm:pt>
    <dgm:pt modelId="{0EAB4AA5-CC1E-4FB7-B186-BB29C0111E92}" type="pres">
      <dgm:prSet presAssocID="{A1F976C2-2487-4E6C-9935-B5ECB5A13F21}" presName="sibTrans" presStyleCnt="0"/>
      <dgm:spPr/>
    </dgm:pt>
    <dgm:pt modelId="{FF39F2C5-C035-47B0-B753-662AD2E684EC}" type="pres">
      <dgm:prSet presAssocID="{A1F976C2-2487-4E6C-9935-B5ECB5A13F21}" presName="space" presStyleCnt="0"/>
      <dgm:spPr/>
    </dgm:pt>
    <dgm:pt modelId="{DFE2D8B5-15FF-4A49-8A03-0A09D5250C0A}" type="pres">
      <dgm:prSet presAssocID="{03DF2B9F-AAC3-4718-8384-3803BAA05B43}" presName="composite" presStyleCnt="0"/>
      <dgm:spPr/>
    </dgm:pt>
    <dgm:pt modelId="{B6497371-7E28-4022-A02C-84310E523EDD}" type="pres">
      <dgm:prSet presAssocID="{03DF2B9F-AAC3-4718-8384-3803BAA05B43}" presName="LShape" presStyleLbl="alignNode1" presStyleIdx="2" presStyleCnt="7"/>
      <dgm:spPr/>
    </dgm:pt>
    <dgm:pt modelId="{E8094594-ED11-44C6-911E-352B3C410FCF}" type="pres">
      <dgm:prSet presAssocID="{03DF2B9F-AAC3-4718-8384-3803BAA05B43}" presName="ParentText" presStyleLbl="revTx" presStyleIdx="1" presStyleCnt="4">
        <dgm:presLayoutVars>
          <dgm:chMax val="0"/>
          <dgm:chPref val="0"/>
          <dgm:bulletEnabled val="1"/>
        </dgm:presLayoutVars>
      </dgm:prSet>
      <dgm:spPr/>
      <dgm:t>
        <a:bodyPr/>
        <a:lstStyle/>
        <a:p>
          <a:endParaRPr lang="en-US"/>
        </a:p>
      </dgm:t>
    </dgm:pt>
    <dgm:pt modelId="{A9AA70A9-D745-46DE-8FE8-2B69DDD4EC12}" type="pres">
      <dgm:prSet presAssocID="{03DF2B9F-AAC3-4718-8384-3803BAA05B43}" presName="Triangle" presStyleLbl="alignNode1" presStyleIdx="3" presStyleCnt="7"/>
      <dgm:spPr/>
    </dgm:pt>
    <dgm:pt modelId="{425DBCFF-1FA9-4DBD-8077-96E2C5A79C0A}" type="pres">
      <dgm:prSet presAssocID="{DB63471B-9E89-4B75-AA01-E418C54DE2E8}" presName="sibTrans" presStyleCnt="0"/>
      <dgm:spPr/>
    </dgm:pt>
    <dgm:pt modelId="{CF127363-7D82-4679-8950-BDDFEE36E043}" type="pres">
      <dgm:prSet presAssocID="{DB63471B-9E89-4B75-AA01-E418C54DE2E8}" presName="space" presStyleCnt="0"/>
      <dgm:spPr/>
    </dgm:pt>
    <dgm:pt modelId="{F2D75785-7EC8-4420-85AA-775708070F4F}" type="pres">
      <dgm:prSet presAssocID="{09155000-1C2C-425E-A06D-BABC9EA071C2}" presName="composite" presStyleCnt="0"/>
      <dgm:spPr/>
    </dgm:pt>
    <dgm:pt modelId="{B9219CF5-7640-4FF4-BF0B-73C8DDA94E5C}" type="pres">
      <dgm:prSet presAssocID="{09155000-1C2C-425E-A06D-BABC9EA071C2}" presName="LShape" presStyleLbl="alignNode1" presStyleIdx="4" presStyleCnt="7"/>
      <dgm:spPr/>
    </dgm:pt>
    <dgm:pt modelId="{F3CB8AE4-399D-491E-B7D6-05CA7A4677B7}" type="pres">
      <dgm:prSet presAssocID="{09155000-1C2C-425E-A06D-BABC9EA071C2}" presName="ParentText" presStyleLbl="revTx" presStyleIdx="2" presStyleCnt="4">
        <dgm:presLayoutVars>
          <dgm:chMax val="0"/>
          <dgm:chPref val="0"/>
          <dgm:bulletEnabled val="1"/>
        </dgm:presLayoutVars>
      </dgm:prSet>
      <dgm:spPr/>
      <dgm:t>
        <a:bodyPr/>
        <a:lstStyle/>
        <a:p>
          <a:endParaRPr lang="en-US"/>
        </a:p>
      </dgm:t>
    </dgm:pt>
    <dgm:pt modelId="{1108250D-E413-4010-B0E9-EB475CC9F925}" type="pres">
      <dgm:prSet presAssocID="{09155000-1C2C-425E-A06D-BABC9EA071C2}" presName="Triangle" presStyleLbl="alignNode1" presStyleIdx="5" presStyleCnt="7"/>
      <dgm:spPr/>
    </dgm:pt>
    <dgm:pt modelId="{B88672A9-8CA0-4374-B960-42411BF3E5CE}" type="pres">
      <dgm:prSet presAssocID="{9AC6A358-2CFE-4696-958F-6E7ABEB73F9E}" presName="sibTrans" presStyleCnt="0"/>
      <dgm:spPr/>
    </dgm:pt>
    <dgm:pt modelId="{10AFD648-E0FE-4018-87E7-EB062A202D12}" type="pres">
      <dgm:prSet presAssocID="{9AC6A358-2CFE-4696-958F-6E7ABEB73F9E}" presName="space" presStyleCnt="0"/>
      <dgm:spPr/>
    </dgm:pt>
    <dgm:pt modelId="{2424351E-0444-4FC6-96B5-7BF09C4C9253}" type="pres">
      <dgm:prSet presAssocID="{206D76B1-AA1E-4C05-B2CB-0CBB10F7A638}" presName="composite" presStyleCnt="0"/>
      <dgm:spPr/>
    </dgm:pt>
    <dgm:pt modelId="{98AF7D4B-9406-45C3-A52C-73987753EBD7}" type="pres">
      <dgm:prSet presAssocID="{206D76B1-AA1E-4C05-B2CB-0CBB10F7A638}" presName="LShape" presStyleLbl="alignNode1" presStyleIdx="6" presStyleCnt="7"/>
      <dgm:spPr/>
    </dgm:pt>
    <dgm:pt modelId="{C99AC8F2-9EA9-4020-AEDF-27EB33B9FDC7}" type="pres">
      <dgm:prSet presAssocID="{206D76B1-AA1E-4C05-B2CB-0CBB10F7A638}" presName="ParentText" presStyleLbl="revTx" presStyleIdx="3" presStyleCnt="4">
        <dgm:presLayoutVars>
          <dgm:chMax val="0"/>
          <dgm:chPref val="0"/>
          <dgm:bulletEnabled val="1"/>
        </dgm:presLayoutVars>
      </dgm:prSet>
      <dgm:spPr/>
      <dgm:t>
        <a:bodyPr/>
        <a:lstStyle/>
        <a:p>
          <a:endParaRPr lang="en-US"/>
        </a:p>
      </dgm:t>
    </dgm:pt>
  </dgm:ptLst>
  <dgm:cxnLst>
    <dgm:cxn modelId="{BC53F2DB-333E-451C-895A-67BCAD89A7A1}" srcId="{445C263F-915C-4719-B803-201518D9C584}" destId="{9D6F1614-B7E3-4166-A033-BEE74A3ECDA3}" srcOrd="0" destOrd="0" parTransId="{6AD0B29E-C478-46D5-9AB2-A64CC432B625}" sibTransId="{A1F976C2-2487-4E6C-9935-B5ECB5A13F21}"/>
    <dgm:cxn modelId="{27A92A0F-ACF1-430B-9AFF-E26F117C691B}" srcId="{445C263F-915C-4719-B803-201518D9C584}" destId="{09155000-1C2C-425E-A06D-BABC9EA071C2}" srcOrd="2" destOrd="0" parTransId="{5EC8D210-418F-476F-93F1-49705D4A51DF}" sibTransId="{9AC6A358-2CFE-4696-958F-6E7ABEB73F9E}"/>
    <dgm:cxn modelId="{EE15C7BC-7854-4AF8-A10C-353BD190F181}" type="presOf" srcId="{206D76B1-AA1E-4C05-B2CB-0CBB10F7A638}" destId="{C99AC8F2-9EA9-4020-AEDF-27EB33B9FDC7}" srcOrd="0" destOrd="0" presId="urn:microsoft.com/office/officeart/2009/3/layout/StepUpProcess"/>
    <dgm:cxn modelId="{B62A70F1-4E1F-4AF4-961A-0E414BF31516}" srcId="{445C263F-915C-4719-B803-201518D9C584}" destId="{206D76B1-AA1E-4C05-B2CB-0CBB10F7A638}" srcOrd="3" destOrd="0" parTransId="{4758A2AA-F25D-48C0-BB3A-BFA84B3768EB}" sibTransId="{AABBE040-B932-4CDE-98D2-6D8C9423816B}"/>
    <dgm:cxn modelId="{65464339-8605-44B0-8320-7026246C83F2}" type="presOf" srcId="{9D6F1614-B7E3-4166-A033-BEE74A3ECDA3}" destId="{00E99759-AF57-4683-B740-A753C1B8EA17}" srcOrd="0" destOrd="0" presId="urn:microsoft.com/office/officeart/2009/3/layout/StepUpProcess"/>
    <dgm:cxn modelId="{59EB33DF-FC6F-4B57-985A-A42BB92BB231}" srcId="{445C263F-915C-4719-B803-201518D9C584}" destId="{03DF2B9F-AAC3-4718-8384-3803BAA05B43}" srcOrd="1" destOrd="0" parTransId="{35DC6503-63CF-4716-9216-6AEC93A48359}" sibTransId="{DB63471B-9E89-4B75-AA01-E418C54DE2E8}"/>
    <dgm:cxn modelId="{B1410066-45E4-40EE-BF42-48BB0DEC7201}" type="presOf" srcId="{445C263F-915C-4719-B803-201518D9C584}" destId="{2AE84C96-F1CC-47F6-8A80-263DF5C071D6}" srcOrd="0" destOrd="0" presId="urn:microsoft.com/office/officeart/2009/3/layout/StepUpProcess"/>
    <dgm:cxn modelId="{AD8CBE57-26EE-4107-B1A2-7145AF7C4AB2}" type="presOf" srcId="{03DF2B9F-AAC3-4718-8384-3803BAA05B43}" destId="{E8094594-ED11-44C6-911E-352B3C410FCF}" srcOrd="0" destOrd="0" presId="urn:microsoft.com/office/officeart/2009/3/layout/StepUpProcess"/>
    <dgm:cxn modelId="{9DAB22F9-8427-4E53-8D49-154F6F7A5BCB}" type="presOf" srcId="{09155000-1C2C-425E-A06D-BABC9EA071C2}" destId="{F3CB8AE4-399D-491E-B7D6-05CA7A4677B7}" srcOrd="0" destOrd="0" presId="urn:microsoft.com/office/officeart/2009/3/layout/StepUpProcess"/>
    <dgm:cxn modelId="{F1AD7A59-3B96-4B37-B208-E87FA061C43A}" type="presParOf" srcId="{2AE84C96-F1CC-47F6-8A80-263DF5C071D6}" destId="{027F436E-F60E-4FEB-A238-9BBAAAA1871E}" srcOrd="0" destOrd="0" presId="urn:microsoft.com/office/officeart/2009/3/layout/StepUpProcess"/>
    <dgm:cxn modelId="{96407EF1-6486-4FBA-B577-9DC6E014B637}" type="presParOf" srcId="{027F436E-F60E-4FEB-A238-9BBAAAA1871E}" destId="{6E862C84-9419-4108-8F83-43E4E180EB19}" srcOrd="0" destOrd="0" presId="urn:microsoft.com/office/officeart/2009/3/layout/StepUpProcess"/>
    <dgm:cxn modelId="{B9C760C7-6ED4-48C7-A6C4-7A09F1979210}" type="presParOf" srcId="{027F436E-F60E-4FEB-A238-9BBAAAA1871E}" destId="{00E99759-AF57-4683-B740-A753C1B8EA17}" srcOrd="1" destOrd="0" presId="urn:microsoft.com/office/officeart/2009/3/layout/StepUpProcess"/>
    <dgm:cxn modelId="{66314639-8A11-4A43-AF9B-AB3369D82FC7}" type="presParOf" srcId="{027F436E-F60E-4FEB-A238-9BBAAAA1871E}" destId="{4AABF11A-928C-46D7-818D-C0E5A550E661}" srcOrd="2" destOrd="0" presId="urn:microsoft.com/office/officeart/2009/3/layout/StepUpProcess"/>
    <dgm:cxn modelId="{9ACE7BC7-CF29-40CE-9750-3732A52F5BDA}" type="presParOf" srcId="{2AE84C96-F1CC-47F6-8A80-263DF5C071D6}" destId="{0EAB4AA5-CC1E-4FB7-B186-BB29C0111E92}" srcOrd="1" destOrd="0" presId="urn:microsoft.com/office/officeart/2009/3/layout/StepUpProcess"/>
    <dgm:cxn modelId="{E01E7C62-F6D5-4ACD-AB25-E9908164AF80}" type="presParOf" srcId="{0EAB4AA5-CC1E-4FB7-B186-BB29C0111E92}" destId="{FF39F2C5-C035-47B0-B753-662AD2E684EC}" srcOrd="0" destOrd="0" presId="urn:microsoft.com/office/officeart/2009/3/layout/StepUpProcess"/>
    <dgm:cxn modelId="{3FB1BC88-D5ED-47F5-9260-42664AB3B397}" type="presParOf" srcId="{2AE84C96-F1CC-47F6-8A80-263DF5C071D6}" destId="{DFE2D8B5-15FF-4A49-8A03-0A09D5250C0A}" srcOrd="2" destOrd="0" presId="urn:microsoft.com/office/officeart/2009/3/layout/StepUpProcess"/>
    <dgm:cxn modelId="{71EBE4AD-DCF3-455D-A6D5-092E5C158C9A}" type="presParOf" srcId="{DFE2D8B5-15FF-4A49-8A03-0A09D5250C0A}" destId="{B6497371-7E28-4022-A02C-84310E523EDD}" srcOrd="0" destOrd="0" presId="urn:microsoft.com/office/officeart/2009/3/layout/StepUpProcess"/>
    <dgm:cxn modelId="{A1637933-2E5A-4DC7-A20A-01295D29CF15}" type="presParOf" srcId="{DFE2D8B5-15FF-4A49-8A03-0A09D5250C0A}" destId="{E8094594-ED11-44C6-911E-352B3C410FCF}" srcOrd="1" destOrd="0" presId="urn:microsoft.com/office/officeart/2009/3/layout/StepUpProcess"/>
    <dgm:cxn modelId="{C0A7579D-9B90-4153-961F-4C720E578557}" type="presParOf" srcId="{DFE2D8B5-15FF-4A49-8A03-0A09D5250C0A}" destId="{A9AA70A9-D745-46DE-8FE8-2B69DDD4EC12}" srcOrd="2" destOrd="0" presId="urn:microsoft.com/office/officeart/2009/3/layout/StepUpProcess"/>
    <dgm:cxn modelId="{AB1B7122-6EF2-4B69-90F5-368E4FA551DA}" type="presParOf" srcId="{2AE84C96-F1CC-47F6-8A80-263DF5C071D6}" destId="{425DBCFF-1FA9-4DBD-8077-96E2C5A79C0A}" srcOrd="3" destOrd="0" presId="urn:microsoft.com/office/officeart/2009/3/layout/StepUpProcess"/>
    <dgm:cxn modelId="{8F198329-B789-47BD-87E4-FE34DD2B40EE}" type="presParOf" srcId="{425DBCFF-1FA9-4DBD-8077-96E2C5A79C0A}" destId="{CF127363-7D82-4679-8950-BDDFEE36E043}" srcOrd="0" destOrd="0" presId="urn:microsoft.com/office/officeart/2009/3/layout/StepUpProcess"/>
    <dgm:cxn modelId="{FA373C19-A7EC-47E7-948A-C19BFA4AFE35}" type="presParOf" srcId="{2AE84C96-F1CC-47F6-8A80-263DF5C071D6}" destId="{F2D75785-7EC8-4420-85AA-775708070F4F}" srcOrd="4" destOrd="0" presId="urn:microsoft.com/office/officeart/2009/3/layout/StepUpProcess"/>
    <dgm:cxn modelId="{F858AE71-7AF9-4399-B8E2-7E84959DF3C7}" type="presParOf" srcId="{F2D75785-7EC8-4420-85AA-775708070F4F}" destId="{B9219CF5-7640-4FF4-BF0B-73C8DDA94E5C}" srcOrd="0" destOrd="0" presId="urn:microsoft.com/office/officeart/2009/3/layout/StepUpProcess"/>
    <dgm:cxn modelId="{6C621705-180E-4DBF-9F25-29D9E46A330C}" type="presParOf" srcId="{F2D75785-7EC8-4420-85AA-775708070F4F}" destId="{F3CB8AE4-399D-491E-B7D6-05CA7A4677B7}" srcOrd="1" destOrd="0" presId="urn:microsoft.com/office/officeart/2009/3/layout/StepUpProcess"/>
    <dgm:cxn modelId="{EFF48856-A1C5-4DC8-95C5-FE4BF8ADEB66}" type="presParOf" srcId="{F2D75785-7EC8-4420-85AA-775708070F4F}" destId="{1108250D-E413-4010-B0E9-EB475CC9F925}" srcOrd="2" destOrd="0" presId="urn:microsoft.com/office/officeart/2009/3/layout/StepUpProcess"/>
    <dgm:cxn modelId="{6981B6BE-CC97-434F-A85D-AABB0A12F4AC}" type="presParOf" srcId="{2AE84C96-F1CC-47F6-8A80-263DF5C071D6}" destId="{B88672A9-8CA0-4374-B960-42411BF3E5CE}" srcOrd="5" destOrd="0" presId="urn:microsoft.com/office/officeart/2009/3/layout/StepUpProcess"/>
    <dgm:cxn modelId="{0920EA04-4242-49A6-B718-D02063127F1B}" type="presParOf" srcId="{B88672A9-8CA0-4374-B960-42411BF3E5CE}" destId="{10AFD648-E0FE-4018-87E7-EB062A202D12}" srcOrd="0" destOrd="0" presId="urn:microsoft.com/office/officeart/2009/3/layout/StepUpProcess"/>
    <dgm:cxn modelId="{1CB8855C-4D33-42BA-94AF-6A46A8ADD88F}" type="presParOf" srcId="{2AE84C96-F1CC-47F6-8A80-263DF5C071D6}" destId="{2424351E-0444-4FC6-96B5-7BF09C4C9253}" srcOrd="6" destOrd="0" presId="urn:microsoft.com/office/officeart/2009/3/layout/StepUpProcess"/>
    <dgm:cxn modelId="{04EDAA33-BB3E-4007-94A5-C10979937216}" type="presParOf" srcId="{2424351E-0444-4FC6-96B5-7BF09C4C9253}" destId="{98AF7D4B-9406-45C3-A52C-73987753EBD7}" srcOrd="0" destOrd="0" presId="urn:microsoft.com/office/officeart/2009/3/layout/StepUpProcess"/>
    <dgm:cxn modelId="{F2412453-C067-4165-AEC2-A8B260450741}" type="presParOf" srcId="{2424351E-0444-4FC6-96B5-7BF09C4C9253}" destId="{C99AC8F2-9EA9-4020-AEDF-27EB33B9FDC7}"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50A5FF14-6E91-44FA-A51B-1C31DF6FC79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AA7F129A-39F8-4E37-A51A-8A89915D0C69}">
      <dgm:prSet phldrT="[Текст]"/>
      <dgm:spPr>
        <a:solidFill>
          <a:schemeClr val="accent2">
            <a:lumMod val="20000"/>
            <a:lumOff val="80000"/>
          </a:schemeClr>
        </a:solidFill>
      </dgm:spPr>
      <dgm:t>
        <a:bodyPr vert="vert270"/>
        <a:lstStyle/>
        <a:p>
          <a:pPr algn="ctr"/>
          <a:r>
            <a:rPr lang="uk-UA" noProof="0" dirty="0"/>
            <a:t>Справа про строки звернення до суду</a:t>
          </a:r>
        </a:p>
        <a:p>
          <a:pPr algn="ctr"/>
          <a:r>
            <a:rPr lang="uk-UA" b="0" i="0" noProof="0" dirty="0"/>
            <a:t>Справа № 166/282/22</a:t>
          </a:r>
          <a:endParaRPr lang="uk-UA" noProof="0" dirty="0"/>
        </a:p>
      </dgm:t>
    </dgm:pt>
    <dgm:pt modelId="{63BF66A6-09F3-4527-88E3-6381FFBE5AD5}" type="parTrans" cxnId="{E76A9518-2FAE-46BA-9C12-6E06DACB0B5D}">
      <dgm:prSet/>
      <dgm:spPr/>
      <dgm:t>
        <a:bodyPr/>
        <a:lstStyle/>
        <a:p>
          <a:endParaRPr lang="ru-UA"/>
        </a:p>
      </dgm:t>
    </dgm:pt>
    <dgm:pt modelId="{BA214040-64A2-4A16-B651-4D733AFFE4C6}" type="sibTrans" cxnId="{E76A9518-2FAE-46BA-9C12-6E06DACB0B5D}">
      <dgm:prSet/>
      <dgm:spPr/>
      <dgm:t>
        <a:bodyPr/>
        <a:lstStyle/>
        <a:p>
          <a:endParaRPr lang="ru-UA"/>
        </a:p>
      </dgm:t>
    </dgm:pt>
    <dgm:pt modelId="{8DAEB9DC-3CB1-4F23-B2DB-CA985410F4C2}">
      <dgm:prSet phldrT="[Текст]"/>
      <dgm:spPr/>
      <dgm:t>
        <a:bodyPr/>
        <a:lstStyle/>
        <a:p>
          <a:r>
            <a:rPr lang="uk-UA" b="0" i="0" noProof="0" dirty="0"/>
            <a:t>27 лютого 2022 року звернулася у телефонному режимі до безпосереднього керівника - головного бухгалтера із проханням подати від її імені директору Ратнівської ЦРЛ заяву про надання соціальної відпустки, як матері двох дітей, за 2021 рік на 10 календарних днів із 28 лютого 2022 року. Наступного дня всупереч ч. 1 ст. 19 Закону України «Про відпустки» їй було відмовлено у задоволенні її заяви. </a:t>
          </a:r>
          <a:endParaRPr lang="uk-UA" noProof="0" dirty="0"/>
        </a:p>
      </dgm:t>
    </dgm:pt>
    <dgm:pt modelId="{94297B8E-4E83-4E2C-881D-C820F5DD3E9A}" type="parTrans" cxnId="{CDA2D0D8-F605-4EA0-B12C-74EB4870C248}">
      <dgm:prSet/>
      <dgm:spPr/>
      <dgm:t>
        <a:bodyPr/>
        <a:lstStyle/>
        <a:p>
          <a:endParaRPr lang="ru-UA"/>
        </a:p>
      </dgm:t>
    </dgm:pt>
    <dgm:pt modelId="{E61B12C0-DD26-4203-838C-DC3BBEAF4A3F}" type="sibTrans" cxnId="{CDA2D0D8-F605-4EA0-B12C-74EB4870C248}">
      <dgm:prSet/>
      <dgm:spPr/>
      <dgm:t>
        <a:bodyPr/>
        <a:lstStyle/>
        <a:p>
          <a:endParaRPr lang="ru-UA"/>
        </a:p>
      </dgm:t>
    </dgm:pt>
    <dgm:pt modelId="{B2A23F94-A4EC-4C97-BB35-F92B83B780A0}">
      <dgm:prSet phldrT="[Текст]"/>
      <dgm:spPr/>
      <dgm:t>
        <a:bodyPr/>
        <a:lstStyle/>
        <a:p>
          <a:r>
            <a:rPr lang="uk-UA" b="0" i="0" noProof="0" dirty="0"/>
            <a:t>07.03.2022  позивачку звільнено з роботи за прогул без поважних причин (п.4 ч.1 ст.40 КЗпП)</a:t>
          </a:r>
        </a:p>
      </dgm:t>
    </dgm:pt>
    <dgm:pt modelId="{8F6F6E59-92AB-479B-BB5F-0F775359712A}" type="parTrans" cxnId="{D479ABDE-EDBA-46B3-99F9-DF21A141CAF5}">
      <dgm:prSet/>
      <dgm:spPr/>
      <dgm:t>
        <a:bodyPr/>
        <a:lstStyle/>
        <a:p>
          <a:endParaRPr lang="ru-UA"/>
        </a:p>
      </dgm:t>
    </dgm:pt>
    <dgm:pt modelId="{41A893FE-0153-48B5-A0B0-D09CE5430403}" type="sibTrans" cxnId="{D479ABDE-EDBA-46B3-99F9-DF21A141CAF5}">
      <dgm:prSet/>
      <dgm:spPr/>
      <dgm:t>
        <a:bodyPr/>
        <a:lstStyle/>
        <a:p>
          <a:endParaRPr lang="ru-UA"/>
        </a:p>
      </dgm:t>
    </dgm:pt>
    <dgm:pt modelId="{27F56B54-934B-4E3A-8445-FA26BB3CE89C}">
      <dgm:prSet phldrT="[Текст]"/>
      <dgm:spPr/>
      <dgm:t>
        <a:bodyPr/>
        <a:lstStyle/>
        <a:p>
          <a:r>
            <a:rPr lang="uk-UA" b="0" i="0" noProof="0" dirty="0"/>
            <a:t>Коли загроза вторгнення військових зі </a:t>
          </a:r>
          <a:r>
            <a:rPr lang="uk-UA" b="0" i="0" noProof="0" dirty="0" err="1"/>
            <a:t>сторонни</a:t>
          </a:r>
          <a:r>
            <a:rPr lang="uk-UA" b="0" i="0" noProof="0" dirty="0"/>
            <a:t> Республіки Білорусь дещо зменшилася, позивачка повернулася із дітьми до місця свого проживання та почала брати активну участь у перевезенні гуманітарної допомоги з Республіки Польща. Вказана обставина унеможливила своєчасне звернення до суду із цим позовом, оскільки вона фактично не перебувала за місцем свого фактичного проживання.</a:t>
          </a:r>
          <a:endParaRPr lang="uk-UA" noProof="0" dirty="0"/>
        </a:p>
      </dgm:t>
    </dgm:pt>
    <dgm:pt modelId="{A57B0342-F409-4F18-9C32-BE569B2CEBC4}" type="parTrans" cxnId="{B35C8C81-F4A0-437D-A283-88248B7F72CC}">
      <dgm:prSet/>
      <dgm:spPr/>
      <dgm:t>
        <a:bodyPr/>
        <a:lstStyle/>
        <a:p>
          <a:endParaRPr lang="ru-UA"/>
        </a:p>
      </dgm:t>
    </dgm:pt>
    <dgm:pt modelId="{82F004CF-4B6A-4BA8-900D-93B379CE2B17}" type="sibTrans" cxnId="{B35C8C81-F4A0-437D-A283-88248B7F72CC}">
      <dgm:prSet/>
      <dgm:spPr/>
      <dgm:t>
        <a:bodyPr/>
        <a:lstStyle/>
        <a:p>
          <a:endParaRPr lang="ru-UA"/>
        </a:p>
      </dgm:t>
    </dgm:pt>
    <dgm:pt modelId="{DC1747FD-EA5B-459F-BCA8-A4B901B6DCE8}" type="pres">
      <dgm:prSet presAssocID="{50A5FF14-6E91-44FA-A51B-1C31DF6FC79F}" presName="vert0" presStyleCnt="0">
        <dgm:presLayoutVars>
          <dgm:dir/>
          <dgm:animOne val="branch"/>
          <dgm:animLvl val="lvl"/>
        </dgm:presLayoutVars>
      </dgm:prSet>
      <dgm:spPr/>
      <dgm:t>
        <a:bodyPr/>
        <a:lstStyle/>
        <a:p>
          <a:endParaRPr lang="en-US"/>
        </a:p>
      </dgm:t>
    </dgm:pt>
    <dgm:pt modelId="{5CF985C4-2067-4047-BA7D-3E7421B6ADF5}" type="pres">
      <dgm:prSet presAssocID="{AA7F129A-39F8-4E37-A51A-8A89915D0C69}" presName="thickLine" presStyleLbl="alignNode1" presStyleIdx="0" presStyleCnt="1"/>
      <dgm:spPr/>
    </dgm:pt>
    <dgm:pt modelId="{D309DAB1-D711-4676-B0C9-9800CF1508A1}" type="pres">
      <dgm:prSet presAssocID="{AA7F129A-39F8-4E37-A51A-8A89915D0C69}" presName="horz1" presStyleCnt="0"/>
      <dgm:spPr/>
    </dgm:pt>
    <dgm:pt modelId="{44949010-F43F-4273-BF25-436505F95A4B}" type="pres">
      <dgm:prSet presAssocID="{AA7F129A-39F8-4E37-A51A-8A89915D0C69}" presName="tx1" presStyleLbl="revTx" presStyleIdx="0" presStyleCnt="4" custScaleX="57921"/>
      <dgm:spPr/>
      <dgm:t>
        <a:bodyPr/>
        <a:lstStyle/>
        <a:p>
          <a:endParaRPr lang="en-US"/>
        </a:p>
      </dgm:t>
    </dgm:pt>
    <dgm:pt modelId="{75D8827E-E612-4E90-9865-159664BEB206}" type="pres">
      <dgm:prSet presAssocID="{AA7F129A-39F8-4E37-A51A-8A89915D0C69}" presName="vert1" presStyleCnt="0"/>
      <dgm:spPr/>
    </dgm:pt>
    <dgm:pt modelId="{4ADF22E8-3100-462E-BD11-86CD665F8D0C}" type="pres">
      <dgm:prSet presAssocID="{8DAEB9DC-3CB1-4F23-B2DB-CA985410F4C2}" presName="vertSpace2a" presStyleCnt="0"/>
      <dgm:spPr/>
    </dgm:pt>
    <dgm:pt modelId="{E89453A4-B185-47D3-849E-E9CABF201404}" type="pres">
      <dgm:prSet presAssocID="{8DAEB9DC-3CB1-4F23-B2DB-CA985410F4C2}" presName="horz2" presStyleCnt="0"/>
      <dgm:spPr/>
    </dgm:pt>
    <dgm:pt modelId="{464B60E8-6366-42D9-A004-6BC91C48E882}" type="pres">
      <dgm:prSet presAssocID="{8DAEB9DC-3CB1-4F23-B2DB-CA985410F4C2}" presName="horzSpace2" presStyleCnt="0"/>
      <dgm:spPr/>
    </dgm:pt>
    <dgm:pt modelId="{84131AAB-2705-453B-9466-179E67A33C0A}" type="pres">
      <dgm:prSet presAssocID="{8DAEB9DC-3CB1-4F23-B2DB-CA985410F4C2}" presName="tx2" presStyleLbl="revTx" presStyleIdx="1" presStyleCnt="4"/>
      <dgm:spPr/>
      <dgm:t>
        <a:bodyPr/>
        <a:lstStyle/>
        <a:p>
          <a:endParaRPr lang="en-US"/>
        </a:p>
      </dgm:t>
    </dgm:pt>
    <dgm:pt modelId="{5AF543EF-8350-4780-A716-140E37046FB1}" type="pres">
      <dgm:prSet presAssocID="{8DAEB9DC-3CB1-4F23-B2DB-CA985410F4C2}" presName="vert2" presStyleCnt="0"/>
      <dgm:spPr/>
    </dgm:pt>
    <dgm:pt modelId="{81DB2667-891F-46F6-87CB-9D0638423E56}" type="pres">
      <dgm:prSet presAssocID="{8DAEB9DC-3CB1-4F23-B2DB-CA985410F4C2}" presName="thinLine2b" presStyleLbl="callout" presStyleIdx="0" presStyleCnt="3"/>
      <dgm:spPr/>
    </dgm:pt>
    <dgm:pt modelId="{E0DB8A00-2A7A-4B90-AC2F-B1E0849E1DBE}" type="pres">
      <dgm:prSet presAssocID="{8DAEB9DC-3CB1-4F23-B2DB-CA985410F4C2}" presName="vertSpace2b" presStyleCnt="0"/>
      <dgm:spPr/>
    </dgm:pt>
    <dgm:pt modelId="{C53C17A6-55AC-4EAA-9EA1-D63E2AAA0025}" type="pres">
      <dgm:prSet presAssocID="{B2A23F94-A4EC-4C97-BB35-F92B83B780A0}" presName="horz2" presStyleCnt="0"/>
      <dgm:spPr/>
    </dgm:pt>
    <dgm:pt modelId="{B4DE0A4A-DE8D-4CA4-A73D-F4986CE47A4E}" type="pres">
      <dgm:prSet presAssocID="{B2A23F94-A4EC-4C97-BB35-F92B83B780A0}" presName="horzSpace2" presStyleCnt="0"/>
      <dgm:spPr/>
    </dgm:pt>
    <dgm:pt modelId="{5B07DF82-DC38-4B52-A931-DAA4389F017B}" type="pres">
      <dgm:prSet presAssocID="{B2A23F94-A4EC-4C97-BB35-F92B83B780A0}" presName="tx2" presStyleLbl="revTx" presStyleIdx="2" presStyleCnt="4"/>
      <dgm:spPr/>
      <dgm:t>
        <a:bodyPr/>
        <a:lstStyle/>
        <a:p>
          <a:endParaRPr lang="en-US"/>
        </a:p>
      </dgm:t>
    </dgm:pt>
    <dgm:pt modelId="{10DDAC69-CCBF-4A78-814D-67B72EC11F79}" type="pres">
      <dgm:prSet presAssocID="{B2A23F94-A4EC-4C97-BB35-F92B83B780A0}" presName="vert2" presStyleCnt="0"/>
      <dgm:spPr/>
    </dgm:pt>
    <dgm:pt modelId="{6B27170D-1061-408B-8B34-5CBCA78B88AB}" type="pres">
      <dgm:prSet presAssocID="{B2A23F94-A4EC-4C97-BB35-F92B83B780A0}" presName="thinLine2b" presStyleLbl="callout" presStyleIdx="1" presStyleCnt="3"/>
      <dgm:spPr/>
    </dgm:pt>
    <dgm:pt modelId="{279E605E-E053-4D98-A68A-BD230BE9CCD2}" type="pres">
      <dgm:prSet presAssocID="{B2A23F94-A4EC-4C97-BB35-F92B83B780A0}" presName="vertSpace2b" presStyleCnt="0"/>
      <dgm:spPr/>
    </dgm:pt>
    <dgm:pt modelId="{65782B8B-C5CC-4EBB-9D1E-7859E80F1BB9}" type="pres">
      <dgm:prSet presAssocID="{27F56B54-934B-4E3A-8445-FA26BB3CE89C}" presName="horz2" presStyleCnt="0"/>
      <dgm:spPr/>
    </dgm:pt>
    <dgm:pt modelId="{8690290D-EA1F-4D6D-9F3C-3D0AB3CD5A1F}" type="pres">
      <dgm:prSet presAssocID="{27F56B54-934B-4E3A-8445-FA26BB3CE89C}" presName="horzSpace2" presStyleCnt="0"/>
      <dgm:spPr/>
    </dgm:pt>
    <dgm:pt modelId="{EBF3146E-A2AB-42BA-A1FD-33AF22DFB1C4}" type="pres">
      <dgm:prSet presAssocID="{27F56B54-934B-4E3A-8445-FA26BB3CE89C}" presName="tx2" presStyleLbl="revTx" presStyleIdx="3" presStyleCnt="4"/>
      <dgm:spPr/>
      <dgm:t>
        <a:bodyPr/>
        <a:lstStyle/>
        <a:p>
          <a:endParaRPr lang="en-US"/>
        </a:p>
      </dgm:t>
    </dgm:pt>
    <dgm:pt modelId="{1EA10885-9B8A-4B42-93B6-C1B58062C52F}" type="pres">
      <dgm:prSet presAssocID="{27F56B54-934B-4E3A-8445-FA26BB3CE89C}" presName="vert2" presStyleCnt="0"/>
      <dgm:spPr/>
    </dgm:pt>
    <dgm:pt modelId="{98DF41B8-5D6A-4631-BC1D-C5063401B9D3}" type="pres">
      <dgm:prSet presAssocID="{27F56B54-934B-4E3A-8445-FA26BB3CE89C}" presName="thinLine2b" presStyleLbl="callout" presStyleIdx="2" presStyleCnt="3"/>
      <dgm:spPr/>
    </dgm:pt>
    <dgm:pt modelId="{780B34CE-08A1-48D1-9003-65629E08C00F}" type="pres">
      <dgm:prSet presAssocID="{27F56B54-934B-4E3A-8445-FA26BB3CE89C}" presName="vertSpace2b" presStyleCnt="0"/>
      <dgm:spPr/>
    </dgm:pt>
  </dgm:ptLst>
  <dgm:cxnLst>
    <dgm:cxn modelId="{D479ABDE-EDBA-46B3-99F9-DF21A141CAF5}" srcId="{AA7F129A-39F8-4E37-A51A-8A89915D0C69}" destId="{B2A23F94-A4EC-4C97-BB35-F92B83B780A0}" srcOrd="1" destOrd="0" parTransId="{8F6F6E59-92AB-479B-BB5F-0F775359712A}" sibTransId="{41A893FE-0153-48B5-A0B0-D09CE5430403}"/>
    <dgm:cxn modelId="{12AC4C54-8688-4C2D-88A7-1E91D4B00D78}" type="presOf" srcId="{27F56B54-934B-4E3A-8445-FA26BB3CE89C}" destId="{EBF3146E-A2AB-42BA-A1FD-33AF22DFB1C4}" srcOrd="0" destOrd="0" presId="urn:microsoft.com/office/officeart/2008/layout/LinedList"/>
    <dgm:cxn modelId="{CDA2D0D8-F605-4EA0-B12C-74EB4870C248}" srcId="{AA7F129A-39F8-4E37-A51A-8A89915D0C69}" destId="{8DAEB9DC-3CB1-4F23-B2DB-CA985410F4C2}" srcOrd="0" destOrd="0" parTransId="{94297B8E-4E83-4E2C-881D-C820F5DD3E9A}" sibTransId="{E61B12C0-DD26-4203-838C-DC3BBEAF4A3F}"/>
    <dgm:cxn modelId="{5BD7F51D-51B0-491D-9A7E-62E915CB135A}" type="presOf" srcId="{B2A23F94-A4EC-4C97-BB35-F92B83B780A0}" destId="{5B07DF82-DC38-4B52-A931-DAA4389F017B}" srcOrd="0" destOrd="0" presId="urn:microsoft.com/office/officeart/2008/layout/LinedList"/>
    <dgm:cxn modelId="{0E8C992E-7BCF-4AF3-B86C-BD429208E5B3}" type="presOf" srcId="{50A5FF14-6E91-44FA-A51B-1C31DF6FC79F}" destId="{DC1747FD-EA5B-459F-BCA8-A4B901B6DCE8}" srcOrd="0" destOrd="0" presId="urn:microsoft.com/office/officeart/2008/layout/LinedList"/>
    <dgm:cxn modelId="{B92730E8-BBA6-4CC4-9228-702B64AABD1D}" type="presOf" srcId="{AA7F129A-39F8-4E37-A51A-8A89915D0C69}" destId="{44949010-F43F-4273-BF25-436505F95A4B}" srcOrd="0" destOrd="0" presId="urn:microsoft.com/office/officeart/2008/layout/LinedList"/>
    <dgm:cxn modelId="{E76A9518-2FAE-46BA-9C12-6E06DACB0B5D}" srcId="{50A5FF14-6E91-44FA-A51B-1C31DF6FC79F}" destId="{AA7F129A-39F8-4E37-A51A-8A89915D0C69}" srcOrd="0" destOrd="0" parTransId="{63BF66A6-09F3-4527-88E3-6381FFBE5AD5}" sibTransId="{BA214040-64A2-4A16-B651-4D733AFFE4C6}"/>
    <dgm:cxn modelId="{B35C8C81-F4A0-437D-A283-88248B7F72CC}" srcId="{AA7F129A-39F8-4E37-A51A-8A89915D0C69}" destId="{27F56B54-934B-4E3A-8445-FA26BB3CE89C}" srcOrd="2" destOrd="0" parTransId="{A57B0342-F409-4F18-9C32-BE569B2CEBC4}" sibTransId="{82F004CF-4B6A-4BA8-900D-93B379CE2B17}"/>
    <dgm:cxn modelId="{0D03DDB4-6575-47F9-AE6A-C6E9F789A458}" type="presOf" srcId="{8DAEB9DC-3CB1-4F23-B2DB-CA985410F4C2}" destId="{84131AAB-2705-453B-9466-179E67A33C0A}" srcOrd="0" destOrd="0" presId="urn:microsoft.com/office/officeart/2008/layout/LinedList"/>
    <dgm:cxn modelId="{64F70EA9-E0D5-417D-864C-31486F6A85AD}" type="presParOf" srcId="{DC1747FD-EA5B-459F-BCA8-A4B901B6DCE8}" destId="{5CF985C4-2067-4047-BA7D-3E7421B6ADF5}" srcOrd="0" destOrd="0" presId="urn:microsoft.com/office/officeart/2008/layout/LinedList"/>
    <dgm:cxn modelId="{C1B7A34D-530E-47A7-91D7-C800FA9815BF}" type="presParOf" srcId="{DC1747FD-EA5B-459F-BCA8-A4B901B6DCE8}" destId="{D309DAB1-D711-4676-B0C9-9800CF1508A1}" srcOrd="1" destOrd="0" presId="urn:microsoft.com/office/officeart/2008/layout/LinedList"/>
    <dgm:cxn modelId="{2C78FD2D-37D7-4369-91FA-1F840741056F}" type="presParOf" srcId="{D309DAB1-D711-4676-B0C9-9800CF1508A1}" destId="{44949010-F43F-4273-BF25-436505F95A4B}" srcOrd="0" destOrd="0" presId="urn:microsoft.com/office/officeart/2008/layout/LinedList"/>
    <dgm:cxn modelId="{B99417BA-4126-4209-9BEC-18AAB49DC406}" type="presParOf" srcId="{D309DAB1-D711-4676-B0C9-9800CF1508A1}" destId="{75D8827E-E612-4E90-9865-159664BEB206}" srcOrd="1" destOrd="0" presId="urn:microsoft.com/office/officeart/2008/layout/LinedList"/>
    <dgm:cxn modelId="{E02007E7-E1DF-4274-8FE0-6FB3C3A66081}" type="presParOf" srcId="{75D8827E-E612-4E90-9865-159664BEB206}" destId="{4ADF22E8-3100-462E-BD11-86CD665F8D0C}" srcOrd="0" destOrd="0" presId="urn:microsoft.com/office/officeart/2008/layout/LinedList"/>
    <dgm:cxn modelId="{DA0B616F-AE33-46D9-87A4-66944C690BC5}" type="presParOf" srcId="{75D8827E-E612-4E90-9865-159664BEB206}" destId="{E89453A4-B185-47D3-849E-E9CABF201404}" srcOrd="1" destOrd="0" presId="urn:microsoft.com/office/officeart/2008/layout/LinedList"/>
    <dgm:cxn modelId="{F54ADEE6-4C35-4068-B457-06954853783E}" type="presParOf" srcId="{E89453A4-B185-47D3-849E-E9CABF201404}" destId="{464B60E8-6366-42D9-A004-6BC91C48E882}" srcOrd="0" destOrd="0" presId="urn:microsoft.com/office/officeart/2008/layout/LinedList"/>
    <dgm:cxn modelId="{6FF1E083-4F64-4626-A4A1-D1744CE7C88C}" type="presParOf" srcId="{E89453A4-B185-47D3-849E-E9CABF201404}" destId="{84131AAB-2705-453B-9466-179E67A33C0A}" srcOrd="1" destOrd="0" presId="urn:microsoft.com/office/officeart/2008/layout/LinedList"/>
    <dgm:cxn modelId="{15E72954-81A2-41BE-9622-44DB2C7E3C38}" type="presParOf" srcId="{E89453A4-B185-47D3-849E-E9CABF201404}" destId="{5AF543EF-8350-4780-A716-140E37046FB1}" srcOrd="2" destOrd="0" presId="urn:microsoft.com/office/officeart/2008/layout/LinedList"/>
    <dgm:cxn modelId="{8CFAE725-CB2D-458A-BE93-2C98F9523048}" type="presParOf" srcId="{75D8827E-E612-4E90-9865-159664BEB206}" destId="{81DB2667-891F-46F6-87CB-9D0638423E56}" srcOrd="2" destOrd="0" presId="urn:microsoft.com/office/officeart/2008/layout/LinedList"/>
    <dgm:cxn modelId="{2B16B153-A7AB-4CBE-A623-3431AB9DF3CA}" type="presParOf" srcId="{75D8827E-E612-4E90-9865-159664BEB206}" destId="{E0DB8A00-2A7A-4B90-AC2F-B1E0849E1DBE}" srcOrd="3" destOrd="0" presId="urn:microsoft.com/office/officeart/2008/layout/LinedList"/>
    <dgm:cxn modelId="{48B75B82-327E-4C6A-B2A3-5E0777A35954}" type="presParOf" srcId="{75D8827E-E612-4E90-9865-159664BEB206}" destId="{C53C17A6-55AC-4EAA-9EA1-D63E2AAA0025}" srcOrd="4" destOrd="0" presId="urn:microsoft.com/office/officeart/2008/layout/LinedList"/>
    <dgm:cxn modelId="{9D2F8B5F-B814-460B-BD60-72E82C5EDD87}" type="presParOf" srcId="{C53C17A6-55AC-4EAA-9EA1-D63E2AAA0025}" destId="{B4DE0A4A-DE8D-4CA4-A73D-F4986CE47A4E}" srcOrd="0" destOrd="0" presId="urn:microsoft.com/office/officeart/2008/layout/LinedList"/>
    <dgm:cxn modelId="{198CF2CA-7868-4B1A-9C79-7FC025D662C3}" type="presParOf" srcId="{C53C17A6-55AC-4EAA-9EA1-D63E2AAA0025}" destId="{5B07DF82-DC38-4B52-A931-DAA4389F017B}" srcOrd="1" destOrd="0" presId="urn:microsoft.com/office/officeart/2008/layout/LinedList"/>
    <dgm:cxn modelId="{6FC61405-67FA-4EB3-B020-C7F0F8C81DE1}" type="presParOf" srcId="{C53C17A6-55AC-4EAA-9EA1-D63E2AAA0025}" destId="{10DDAC69-CCBF-4A78-814D-67B72EC11F79}" srcOrd="2" destOrd="0" presId="urn:microsoft.com/office/officeart/2008/layout/LinedList"/>
    <dgm:cxn modelId="{C326CF11-ACBF-4EDD-A856-014AE45B9E42}" type="presParOf" srcId="{75D8827E-E612-4E90-9865-159664BEB206}" destId="{6B27170D-1061-408B-8B34-5CBCA78B88AB}" srcOrd="5" destOrd="0" presId="urn:microsoft.com/office/officeart/2008/layout/LinedList"/>
    <dgm:cxn modelId="{DB6FC8BB-5A6D-4145-9947-950247A607E6}" type="presParOf" srcId="{75D8827E-E612-4E90-9865-159664BEB206}" destId="{279E605E-E053-4D98-A68A-BD230BE9CCD2}" srcOrd="6" destOrd="0" presId="urn:microsoft.com/office/officeart/2008/layout/LinedList"/>
    <dgm:cxn modelId="{C4E52D8A-6813-4340-A671-D88E53EE6846}" type="presParOf" srcId="{75D8827E-E612-4E90-9865-159664BEB206}" destId="{65782B8B-C5CC-4EBB-9D1E-7859E80F1BB9}" srcOrd="7" destOrd="0" presId="urn:microsoft.com/office/officeart/2008/layout/LinedList"/>
    <dgm:cxn modelId="{70D3588F-EDF3-4446-BD82-07ADA34DB50F}" type="presParOf" srcId="{65782B8B-C5CC-4EBB-9D1E-7859E80F1BB9}" destId="{8690290D-EA1F-4D6D-9F3C-3D0AB3CD5A1F}" srcOrd="0" destOrd="0" presId="urn:microsoft.com/office/officeart/2008/layout/LinedList"/>
    <dgm:cxn modelId="{7388A15E-8058-4758-BB39-087AF4941A8A}" type="presParOf" srcId="{65782B8B-C5CC-4EBB-9D1E-7859E80F1BB9}" destId="{EBF3146E-A2AB-42BA-A1FD-33AF22DFB1C4}" srcOrd="1" destOrd="0" presId="urn:microsoft.com/office/officeart/2008/layout/LinedList"/>
    <dgm:cxn modelId="{A2307528-666B-47DC-86DC-C747CCC196CA}" type="presParOf" srcId="{65782B8B-C5CC-4EBB-9D1E-7859E80F1BB9}" destId="{1EA10885-9B8A-4B42-93B6-C1B58062C52F}" srcOrd="2" destOrd="0" presId="urn:microsoft.com/office/officeart/2008/layout/LinedList"/>
    <dgm:cxn modelId="{90E2B0D1-04EF-4084-ACA8-25641E7E91EC}" type="presParOf" srcId="{75D8827E-E612-4E90-9865-159664BEB206}" destId="{98DF41B8-5D6A-4631-BC1D-C5063401B9D3}" srcOrd="8" destOrd="0" presId="urn:microsoft.com/office/officeart/2008/layout/LinedList"/>
    <dgm:cxn modelId="{270E6A4C-3EC7-4E60-A06C-32052B2294A8}" type="presParOf" srcId="{75D8827E-E612-4E90-9865-159664BEB206}" destId="{780B34CE-08A1-48D1-9003-65629E08C00F}" srcOrd="9"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A0C0224A-C1E9-4653-8FE2-9A8836151C0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80060EA9-3D16-45FE-98D4-BB4B85EE8530}">
      <dgm:prSet phldrT="[Текст]"/>
      <dgm:spPr/>
      <dgm:t>
        <a:bodyPr/>
        <a:lstStyle/>
        <a:p>
          <a:r>
            <a:rPr lang="uk-UA" b="0" i="0" noProof="0" dirty="0">
              <a:solidFill>
                <a:schemeClr val="tx1"/>
              </a:solidFill>
            </a:rPr>
            <a:t>У період із 28 лютого 2022 року по 04 березня 2022 року була відсутня на робочому місці у зв`язку із веденням воєнних дій та необхідністю збереження свого та дітей життя і здоров`я. Відтак, на думку суду, відсутність позивачки на роботі була зумовлена поважною причиною, тому ознак прогулу не містить.</a:t>
          </a:r>
          <a:endParaRPr lang="uk-UA" noProof="0" dirty="0">
            <a:solidFill>
              <a:schemeClr val="tx1"/>
            </a:solidFill>
          </a:endParaRPr>
        </a:p>
      </dgm:t>
    </dgm:pt>
    <dgm:pt modelId="{A4B3BCED-B76F-4BB0-9A5D-664C1A81DD09}" type="parTrans" cxnId="{648D65C7-4557-4B50-B0C4-CA5F81D8C5D7}">
      <dgm:prSet/>
      <dgm:spPr/>
      <dgm:t>
        <a:bodyPr/>
        <a:lstStyle/>
        <a:p>
          <a:endParaRPr lang="ru-UA"/>
        </a:p>
      </dgm:t>
    </dgm:pt>
    <dgm:pt modelId="{CDBA8231-51EE-4AC1-BAD5-3D5F004BA37C}" type="sibTrans" cxnId="{648D65C7-4557-4B50-B0C4-CA5F81D8C5D7}">
      <dgm:prSet/>
      <dgm:spPr/>
      <dgm:t>
        <a:bodyPr/>
        <a:lstStyle/>
        <a:p>
          <a:endParaRPr lang="ru-UA"/>
        </a:p>
      </dgm:t>
    </dgm:pt>
    <dgm:pt modelId="{8443DCA0-70AA-4184-883F-2C4E982138DC}">
      <dgm:prSet phldrT="[Текст]" custT="1"/>
      <dgm:spPr/>
      <dgm:t>
        <a:bodyPr/>
        <a:lstStyle/>
        <a:p>
          <a:r>
            <a:rPr lang="uk-UA" sz="4000" b="0" i="0" noProof="0" dirty="0"/>
            <a:t>Оскаржуваний наказ є незаконним, що свідчить про обов`язок роботодавця поновити позивачку на займаній посаді та виплатити середній заробіток за час вимушеного прогулу.</a:t>
          </a:r>
          <a:endParaRPr lang="uk-UA" sz="4000" noProof="0" dirty="0"/>
        </a:p>
      </dgm:t>
    </dgm:pt>
    <dgm:pt modelId="{8B05BDA8-D225-460A-98A8-0D989B0A9272}" type="parTrans" cxnId="{D8DA762D-C157-433A-B8D4-CFC1616BC3B1}">
      <dgm:prSet/>
      <dgm:spPr/>
      <dgm:t>
        <a:bodyPr/>
        <a:lstStyle/>
        <a:p>
          <a:endParaRPr lang="ru-UA"/>
        </a:p>
      </dgm:t>
    </dgm:pt>
    <dgm:pt modelId="{D6791F52-43E5-4A16-820C-2DD1818B38FE}" type="sibTrans" cxnId="{D8DA762D-C157-433A-B8D4-CFC1616BC3B1}">
      <dgm:prSet/>
      <dgm:spPr/>
      <dgm:t>
        <a:bodyPr/>
        <a:lstStyle/>
        <a:p>
          <a:endParaRPr lang="ru-UA"/>
        </a:p>
      </dgm:t>
    </dgm:pt>
    <dgm:pt modelId="{D58A9573-D2B2-480F-9ACD-DEF46C9A50CC}">
      <dgm:prSet phldrT="[Текст]"/>
      <dgm:spPr/>
      <dgm:t>
        <a:bodyPr/>
        <a:lstStyle/>
        <a:p>
          <a:r>
            <a:rPr lang="uk-UA" b="0" i="0" noProof="0" dirty="0">
              <a:solidFill>
                <a:schemeClr val="tx1"/>
              </a:solidFill>
            </a:rPr>
            <a:t>Однак суд констатує, що однією із гарантій забезпечення прав і свобод учасників трудових правовідносин є строк звернення працівника до суду за вирішенням трудового спору. Такий строк згідно із ч.1 ст.233 КЗпП України у справах про звільнення визначений в один місяць із дня вручення копії наказу про звільнення або з дня вручення трудової книжки.</a:t>
          </a:r>
          <a:endParaRPr lang="uk-UA" b="1" noProof="0" dirty="0">
            <a:solidFill>
              <a:schemeClr val="tx1"/>
            </a:solidFill>
          </a:endParaRPr>
        </a:p>
      </dgm:t>
    </dgm:pt>
    <dgm:pt modelId="{D68A264C-465A-4C47-9C39-92463C872FC8}" type="parTrans" cxnId="{B4ABAF62-8B21-4EBD-BF0B-5700A1291B3D}">
      <dgm:prSet/>
      <dgm:spPr/>
      <dgm:t>
        <a:bodyPr/>
        <a:lstStyle/>
        <a:p>
          <a:endParaRPr lang="ru-UA"/>
        </a:p>
      </dgm:t>
    </dgm:pt>
    <dgm:pt modelId="{993F921A-96D9-43CA-AF83-E1E733EF2FE9}" type="sibTrans" cxnId="{B4ABAF62-8B21-4EBD-BF0B-5700A1291B3D}">
      <dgm:prSet/>
      <dgm:spPr/>
      <dgm:t>
        <a:bodyPr/>
        <a:lstStyle/>
        <a:p>
          <a:endParaRPr lang="ru-UA"/>
        </a:p>
      </dgm:t>
    </dgm:pt>
    <dgm:pt modelId="{8861803B-B188-4646-A940-4168F0577496}" type="pres">
      <dgm:prSet presAssocID="{A0C0224A-C1E9-4653-8FE2-9A8836151C02}" presName="linear" presStyleCnt="0">
        <dgm:presLayoutVars>
          <dgm:animLvl val="lvl"/>
          <dgm:resizeHandles val="exact"/>
        </dgm:presLayoutVars>
      </dgm:prSet>
      <dgm:spPr/>
      <dgm:t>
        <a:bodyPr/>
        <a:lstStyle/>
        <a:p>
          <a:endParaRPr lang="en-US"/>
        </a:p>
      </dgm:t>
    </dgm:pt>
    <dgm:pt modelId="{BA32CA74-C898-4810-8215-DDD291D3907C}" type="pres">
      <dgm:prSet presAssocID="{80060EA9-3D16-45FE-98D4-BB4B85EE8530}" presName="parentText" presStyleLbl="node1" presStyleIdx="0" presStyleCnt="2">
        <dgm:presLayoutVars>
          <dgm:chMax val="0"/>
          <dgm:bulletEnabled val="1"/>
        </dgm:presLayoutVars>
      </dgm:prSet>
      <dgm:spPr/>
      <dgm:t>
        <a:bodyPr/>
        <a:lstStyle/>
        <a:p>
          <a:endParaRPr lang="en-US"/>
        </a:p>
      </dgm:t>
    </dgm:pt>
    <dgm:pt modelId="{F2663DDB-AF79-4774-94A4-303448794070}" type="pres">
      <dgm:prSet presAssocID="{80060EA9-3D16-45FE-98D4-BB4B85EE8530}" presName="childText" presStyleLbl="revTx" presStyleIdx="0" presStyleCnt="1">
        <dgm:presLayoutVars>
          <dgm:bulletEnabled val="1"/>
        </dgm:presLayoutVars>
      </dgm:prSet>
      <dgm:spPr/>
      <dgm:t>
        <a:bodyPr/>
        <a:lstStyle/>
        <a:p>
          <a:endParaRPr lang="en-US"/>
        </a:p>
      </dgm:t>
    </dgm:pt>
    <dgm:pt modelId="{D69BF492-A030-4636-B7E7-C0086D7751C0}" type="pres">
      <dgm:prSet presAssocID="{D58A9573-D2B2-480F-9ACD-DEF46C9A50CC}" presName="parentText" presStyleLbl="node1" presStyleIdx="1" presStyleCnt="2">
        <dgm:presLayoutVars>
          <dgm:chMax val="0"/>
          <dgm:bulletEnabled val="1"/>
        </dgm:presLayoutVars>
      </dgm:prSet>
      <dgm:spPr/>
      <dgm:t>
        <a:bodyPr/>
        <a:lstStyle/>
        <a:p>
          <a:endParaRPr lang="en-US"/>
        </a:p>
      </dgm:t>
    </dgm:pt>
  </dgm:ptLst>
  <dgm:cxnLst>
    <dgm:cxn modelId="{D8DA762D-C157-433A-B8D4-CFC1616BC3B1}" srcId="{80060EA9-3D16-45FE-98D4-BB4B85EE8530}" destId="{8443DCA0-70AA-4184-883F-2C4E982138DC}" srcOrd="0" destOrd="0" parTransId="{8B05BDA8-D225-460A-98A8-0D989B0A9272}" sibTransId="{D6791F52-43E5-4A16-820C-2DD1818B38FE}"/>
    <dgm:cxn modelId="{8A5857A4-0C8D-41DE-A6B3-C0F1AE7A0429}" type="presOf" srcId="{8443DCA0-70AA-4184-883F-2C4E982138DC}" destId="{F2663DDB-AF79-4774-94A4-303448794070}" srcOrd="0" destOrd="0" presId="urn:microsoft.com/office/officeart/2005/8/layout/vList2"/>
    <dgm:cxn modelId="{1CEA8E63-08F9-410C-B9D5-11785AA619AF}" type="presOf" srcId="{A0C0224A-C1E9-4653-8FE2-9A8836151C02}" destId="{8861803B-B188-4646-A940-4168F0577496}" srcOrd="0" destOrd="0" presId="urn:microsoft.com/office/officeart/2005/8/layout/vList2"/>
    <dgm:cxn modelId="{709EF28B-602E-4B80-97EB-BBAB7567F642}" type="presOf" srcId="{D58A9573-D2B2-480F-9ACD-DEF46C9A50CC}" destId="{D69BF492-A030-4636-B7E7-C0086D7751C0}" srcOrd="0" destOrd="0" presId="urn:microsoft.com/office/officeart/2005/8/layout/vList2"/>
    <dgm:cxn modelId="{B4ABAF62-8B21-4EBD-BF0B-5700A1291B3D}" srcId="{A0C0224A-C1E9-4653-8FE2-9A8836151C02}" destId="{D58A9573-D2B2-480F-9ACD-DEF46C9A50CC}" srcOrd="1" destOrd="0" parTransId="{D68A264C-465A-4C47-9C39-92463C872FC8}" sibTransId="{993F921A-96D9-43CA-AF83-E1E733EF2FE9}"/>
    <dgm:cxn modelId="{648D65C7-4557-4B50-B0C4-CA5F81D8C5D7}" srcId="{A0C0224A-C1E9-4653-8FE2-9A8836151C02}" destId="{80060EA9-3D16-45FE-98D4-BB4B85EE8530}" srcOrd="0" destOrd="0" parTransId="{A4B3BCED-B76F-4BB0-9A5D-664C1A81DD09}" sibTransId="{CDBA8231-51EE-4AC1-BAD5-3D5F004BA37C}"/>
    <dgm:cxn modelId="{17BC3CDC-59C3-4886-A1FD-03672C8E201D}" type="presOf" srcId="{80060EA9-3D16-45FE-98D4-BB4B85EE8530}" destId="{BA32CA74-C898-4810-8215-DDD291D3907C}" srcOrd="0" destOrd="0" presId="urn:microsoft.com/office/officeart/2005/8/layout/vList2"/>
    <dgm:cxn modelId="{9AC7C7A2-CEC6-4484-ACDB-26866C05C99A}" type="presParOf" srcId="{8861803B-B188-4646-A940-4168F0577496}" destId="{BA32CA74-C898-4810-8215-DDD291D3907C}" srcOrd="0" destOrd="0" presId="urn:microsoft.com/office/officeart/2005/8/layout/vList2"/>
    <dgm:cxn modelId="{96F5E15F-86A9-44AF-A481-ADBA9194EA64}" type="presParOf" srcId="{8861803B-B188-4646-A940-4168F0577496}" destId="{F2663DDB-AF79-4774-94A4-303448794070}" srcOrd="1" destOrd="0" presId="urn:microsoft.com/office/officeart/2005/8/layout/vList2"/>
    <dgm:cxn modelId="{5F16C589-B235-46E1-B3BB-3AA779B4B456}" type="presParOf" srcId="{8861803B-B188-4646-A940-4168F0577496}" destId="{D69BF492-A030-4636-B7E7-C0086D7751C0}"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445C263F-915C-4719-B803-201518D9C584}"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ru-UA"/>
        </a:p>
      </dgm:t>
    </dgm:pt>
    <dgm:pt modelId="{9D6F1614-B7E3-4166-A033-BEE74A3ECDA3}">
      <dgm:prSet phldrT="[Текст]"/>
      <dgm:spPr/>
      <dgm:t>
        <a:bodyPr/>
        <a:lstStyle/>
        <a:p>
          <a:r>
            <a:rPr lang="uk-UA" noProof="0" dirty="0"/>
            <a:t>У задоволенні заяви про поновлення строку відмовлено</a:t>
          </a:r>
        </a:p>
      </dgm:t>
    </dgm:pt>
    <dgm:pt modelId="{6AD0B29E-C478-46D5-9AB2-A64CC432B625}" type="parTrans" cxnId="{BC53F2DB-333E-451C-895A-67BCAD89A7A1}">
      <dgm:prSet/>
      <dgm:spPr/>
      <dgm:t>
        <a:bodyPr/>
        <a:lstStyle/>
        <a:p>
          <a:endParaRPr lang="ru-UA"/>
        </a:p>
      </dgm:t>
    </dgm:pt>
    <dgm:pt modelId="{A1F976C2-2487-4E6C-9935-B5ECB5A13F21}" type="sibTrans" cxnId="{BC53F2DB-333E-451C-895A-67BCAD89A7A1}">
      <dgm:prSet/>
      <dgm:spPr/>
      <dgm:t>
        <a:bodyPr/>
        <a:lstStyle/>
        <a:p>
          <a:endParaRPr lang="ru-UA"/>
        </a:p>
      </dgm:t>
    </dgm:pt>
    <dgm:pt modelId="{2AE84C96-F1CC-47F6-8A80-263DF5C071D6}" type="pres">
      <dgm:prSet presAssocID="{445C263F-915C-4719-B803-201518D9C584}" presName="rootnode" presStyleCnt="0">
        <dgm:presLayoutVars>
          <dgm:chMax/>
          <dgm:chPref/>
          <dgm:dir/>
          <dgm:animLvl val="lvl"/>
        </dgm:presLayoutVars>
      </dgm:prSet>
      <dgm:spPr/>
      <dgm:t>
        <a:bodyPr/>
        <a:lstStyle/>
        <a:p>
          <a:endParaRPr lang="en-US"/>
        </a:p>
      </dgm:t>
    </dgm:pt>
    <dgm:pt modelId="{027F436E-F60E-4FEB-A238-9BBAAAA1871E}" type="pres">
      <dgm:prSet presAssocID="{9D6F1614-B7E3-4166-A033-BEE74A3ECDA3}" presName="composite" presStyleCnt="0"/>
      <dgm:spPr/>
    </dgm:pt>
    <dgm:pt modelId="{6E862C84-9419-4108-8F83-43E4E180EB19}" type="pres">
      <dgm:prSet presAssocID="{9D6F1614-B7E3-4166-A033-BEE74A3ECDA3}" presName="LShape" presStyleLbl="alignNode1" presStyleIdx="0" presStyleCnt="1"/>
      <dgm:spPr/>
    </dgm:pt>
    <dgm:pt modelId="{00E99759-AF57-4683-B740-A753C1B8EA17}" type="pres">
      <dgm:prSet presAssocID="{9D6F1614-B7E3-4166-A033-BEE74A3ECDA3}" presName="ParentText" presStyleLbl="revTx" presStyleIdx="0" presStyleCnt="1">
        <dgm:presLayoutVars>
          <dgm:chMax val="0"/>
          <dgm:chPref val="0"/>
          <dgm:bulletEnabled val="1"/>
        </dgm:presLayoutVars>
      </dgm:prSet>
      <dgm:spPr/>
      <dgm:t>
        <a:bodyPr/>
        <a:lstStyle/>
        <a:p>
          <a:endParaRPr lang="en-US"/>
        </a:p>
      </dgm:t>
    </dgm:pt>
  </dgm:ptLst>
  <dgm:cxnLst>
    <dgm:cxn modelId="{BC53F2DB-333E-451C-895A-67BCAD89A7A1}" srcId="{445C263F-915C-4719-B803-201518D9C584}" destId="{9D6F1614-B7E3-4166-A033-BEE74A3ECDA3}" srcOrd="0" destOrd="0" parTransId="{6AD0B29E-C478-46D5-9AB2-A64CC432B625}" sibTransId="{A1F976C2-2487-4E6C-9935-B5ECB5A13F21}"/>
    <dgm:cxn modelId="{B1410066-45E4-40EE-BF42-48BB0DEC7201}" type="presOf" srcId="{445C263F-915C-4719-B803-201518D9C584}" destId="{2AE84C96-F1CC-47F6-8A80-263DF5C071D6}" srcOrd="0" destOrd="0" presId="urn:microsoft.com/office/officeart/2009/3/layout/StepUpProcess"/>
    <dgm:cxn modelId="{65464339-8605-44B0-8320-7026246C83F2}" type="presOf" srcId="{9D6F1614-B7E3-4166-A033-BEE74A3ECDA3}" destId="{00E99759-AF57-4683-B740-A753C1B8EA17}" srcOrd="0" destOrd="0" presId="urn:microsoft.com/office/officeart/2009/3/layout/StepUpProcess"/>
    <dgm:cxn modelId="{F1AD7A59-3B96-4B37-B208-E87FA061C43A}" type="presParOf" srcId="{2AE84C96-F1CC-47F6-8A80-263DF5C071D6}" destId="{027F436E-F60E-4FEB-A238-9BBAAAA1871E}" srcOrd="0" destOrd="0" presId="urn:microsoft.com/office/officeart/2009/3/layout/StepUpProcess"/>
    <dgm:cxn modelId="{96407EF1-6486-4FBA-B577-9DC6E014B637}" type="presParOf" srcId="{027F436E-F60E-4FEB-A238-9BBAAAA1871E}" destId="{6E862C84-9419-4108-8F83-43E4E180EB19}" srcOrd="0" destOrd="0" presId="urn:microsoft.com/office/officeart/2009/3/layout/StepUpProcess"/>
    <dgm:cxn modelId="{B9C760C7-6ED4-48C7-A6C4-7A09F1979210}" type="presParOf" srcId="{027F436E-F60E-4FEB-A238-9BBAAAA1871E}" destId="{00E99759-AF57-4683-B740-A753C1B8EA17}"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50A5FF14-6E91-44FA-A51B-1C31DF6FC79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AA7F129A-39F8-4E37-A51A-8A89915D0C69}">
      <dgm:prSet phldrT="[Текст]"/>
      <dgm:spPr>
        <a:solidFill>
          <a:schemeClr val="accent2">
            <a:lumMod val="20000"/>
            <a:lumOff val="80000"/>
          </a:schemeClr>
        </a:solidFill>
      </dgm:spPr>
      <dgm:t>
        <a:bodyPr vert="vert270"/>
        <a:lstStyle/>
        <a:p>
          <a:pPr algn="ctr"/>
          <a:r>
            <a:rPr lang="uk-UA" noProof="1"/>
            <a:t>Справа про виплату заборгованості за зп </a:t>
          </a:r>
          <a:r>
            <a:rPr lang="uk-UA" b="0" i="0" noProof="1"/>
            <a:t>Справа № </a:t>
          </a:r>
          <a:r>
            <a:rPr lang="ru-UA" b="0" i="0" dirty="0"/>
            <a:t>199/3640/22</a:t>
          </a:r>
          <a:endParaRPr lang="uk-UA" noProof="1"/>
        </a:p>
      </dgm:t>
    </dgm:pt>
    <dgm:pt modelId="{63BF66A6-09F3-4527-88E3-6381FFBE5AD5}" type="parTrans" cxnId="{E76A9518-2FAE-46BA-9C12-6E06DACB0B5D}">
      <dgm:prSet/>
      <dgm:spPr/>
      <dgm:t>
        <a:bodyPr/>
        <a:lstStyle/>
        <a:p>
          <a:endParaRPr lang="ru-UA"/>
        </a:p>
      </dgm:t>
    </dgm:pt>
    <dgm:pt modelId="{BA214040-64A2-4A16-B651-4D733AFFE4C6}" type="sibTrans" cxnId="{E76A9518-2FAE-46BA-9C12-6E06DACB0B5D}">
      <dgm:prSet/>
      <dgm:spPr/>
      <dgm:t>
        <a:bodyPr/>
        <a:lstStyle/>
        <a:p>
          <a:endParaRPr lang="ru-UA"/>
        </a:p>
      </dgm:t>
    </dgm:pt>
    <dgm:pt modelId="{8DAEB9DC-3CB1-4F23-B2DB-CA985410F4C2}">
      <dgm:prSet phldrT="[Текст]"/>
      <dgm:spPr/>
      <dgm:t>
        <a:bodyPr/>
        <a:lstStyle/>
        <a:p>
          <a:r>
            <a:rPr lang="uk-UA" b="0" i="0" noProof="1"/>
            <a:t>16.05.2022 позивача звільнено. Розрахунок заборгованості не проведено. Заборгованість з випати зп не погашена.</a:t>
          </a:r>
          <a:endParaRPr lang="uk-UA" noProof="1"/>
        </a:p>
      </dgm:t>
    </dgm:pt>
    <dgm:pt modelId="{94297B8E-4E83-4E2C-881D-C820F5DD3E9A}" type="parTrans" cxnId="{CDA2D0D8-F605-4EA0-B12C-74EB4870C248}">
      <dgm:prSet/>
      <dgm:spPr/>
      <dgm:t>
        <a:bodyPr/>
        <a:lstStyle/>
        <a:p>
          <a:endParaRPr lang="ru-UA"/>
        </a:p>
      </dgm:t>
    </dgm:pt>
    <dgm:pt modelId="{E61B12C0-DD26-4203-838C-DC3BBEAF4A3F}" type="sibTrans" cxnId="{CDA2D0D8-F605-4EA0-B12C-74EB4870C248}">
      <dgm:prSet/>
      <dgm:spPr/>
      <dgm:t>
        <a:bodyPr/>
        <a:lstStyle/>
        <a:p>
          <a:endParaRPr lang="ru-UA"/>
        </a:p>
      </dgm:t>
    </dgm:pt>
    <dgm:pt modelId="{B2A23F94-A4EC-4C97-BB35-F92B83B780A0}">
      <dgm:prSet phldrT="[Текст]"/>
      <dgm:spPr/>
      <dgm:t>
        <a:bodyPr/>
        <a:lstStyle/>
        <a:p>
          <a:r>
            <a:rPr lang="uk-UA" b="0" i="0" noProof="1"/>
            <a:t>Робоче місце знаходиться у м. Сєвєродонецьк Луганської області </a:t>
          </a:r>
        </a:p>
      </dgm:t>
    </dgm:pt>
    <dgm:pt modelId="{8F6F6E59-92AB-479B-BB5F-0F775359712A}" type="parTrans" cxnId="{D479ABDE-EDBA-46B3-99F9-DF21A141CAF5}">
      <dgm:prSet/>
      <dgm:spPr/>
      <dgm:t>
        <a:bodyPr/>
        <a:lstStyle/>
        <a:p>
          <a:endParaRPr lang="ru-UA"/>
        </a:p>
      </dgm:t>
    </dgm:pt>
    <dgm:pt modelId="{41A893FE-0153-48B5-A0B0-D09CE5430403}" type="sibTrans" cxnId="{D479ABDE-EDBA-46B3-99F9-DF21A141CAF5}">
      <dgm:prSet/>
      <dgm:spPr/>
      <dgm:t>
        <a:bodyPr/>
        <a:lstStyle/>
        <a:p>
          <a:endParaRPr lang="ru-UA"/>
        </a:p>
      </dgm:t>
    </dgm:pt>
    <dgm:pt modelId="{DC1747FD-EA5B-459F-BCA8-A4B901B6DCE8}" type="pres">
      <dgm:prSet presAssocID="{50A5FF14-6E91-44FA-A51B-1C31DF6FC79F}" presName="vert0" presStyleCnt="0">
        <dgm:presLayoutVars>
          <dgm:dir/>
          <dgm:animOne val="branch"/>
          <dgm:animLvl val="lvl"/>
        </dgm:presLayoutVars>
      </dgm:prSet>
      <dgm:spPr/>
      <dgm:t>
        <a:bodyPr/>
        <a:lstStyle/>
        <a:p>
          <a:endParaRPr lang="en-US"/>
        </a:p>
      </dgm:t>
    </dgm:pt>
    <dgm:pt modelId="{5CF985C4-2067-4047-BA7D-3E7421B6ADF5}" type="pres">
      <dgm:prSet presAssocID="{AA7F129A-39F8-4E37-A51A-8A89915D0C69}" presName="thickLine" presStyleLbl="alignNode1" presStyleIdx="0" presStyleCnt="1"/>
      <dgm:spPr/>
    </dgm:pt>
    <dgm:pt modelId="{D309DAB1-D711-4676-B0C9-9800CF1508A1}" type="pres">
      <dgm:prSet presAssocID="{AA7F129A-39F8-4E37-A51A-8A89915D0C69}" presName="horz1" presStyleCnt="0"/>
      <dgm:spPr/>
    </dgm:pt>
    <dgm:pt modelId="{44949010-F43F-4273-BF25-436505F95A4B}" type="pres">
      <dgm:prSet presAssocID="{AA7F129A-39F8-4E37-A51A-8A89915D0C69}" presName="tx1" presStyleLbl="revTx" presStyleIdx="0" presStyleCnt="3" custScaleX="57921"/>
      <dgm:spPr/>
      <dgm:t>
        <a:bodyPr/>
        <a:lstStyle/>
        <a:p>
          <a:endParaRPr lang="en-US"/>
        </a:p>
      </dgm:t>
    </dgm:pt>
    <dgm:pt modelId="{75D8827E-E612-4E90-9865-159664BEB206}" type="pres">
      <dgm:prSet presAssocID="{AA7F129A-39F8-4E37-A51A-8A89915D0C69}" presName="vert1" presStyleCnt="0"/>
      <dgm:spPr/>
    </dgm:pt>
    <dgm:pt modelId="{4ADF22E8-3100-462E-BD11-86CD665F8D0C}" type="pres">
      <dgm:prSet presAssocID="{8DAEB9DC-3CB1-4F23-B2DB-CA985410F4C2}" presName="vertSpace2a" presStyleCnt="0"/>
      <dgm:spPr/>
    </dgm:pt>
    <dgm:pt modelId="{E89453A4-B185-47D3-849E-E9CABF201404}" type="pres">
      <dgm:prSet presAssocID="{8DAEB9DC-3CB1-4F23-B2DB-CA985410F4C2}" presName="horz2" presStyleCnt="0"/>
      <dgm:spPr/>
    </dgm:pt>
    <dgm:pt modelId="{464B60E8-6366-42D9-A004-6BC91C48E882}" type="pres">
      <dgm:prSet presAssocID="{8DAEB9DC-3CB1-4F23-B2DB-CA985410F4C2}" presName="horzSpace2" presStyleCnt="0"/>
      <dgm:spPr/>
    </dgm:pt>
    <dgm:pt modelId="{84131AAB-2705-453B-9466-179E67A33C0A}" type="pres">
      <dgm:prSet presAssocID="{8DAEB9DC-3CB1-4F23-B2DB-CA985410F4C2}" presName="tx2" presStyleLbl="revTx" presStyleIdx="1" presStyleCnt="3"/>
      <dgm:spPr/>
      <dgm:t>
        <a:bodyPr/>
        <a:lstStyle/>
        <a:p>
          <a:endParaRPr lang="en-US"/>
        </a:p>
      </dgm:t>
    </dgm:pt>
    <dgm:pt modelId="{5AF543EF-8350-4780-A716-140E37046FB1}" type="pres">
      <dgm:prSet presAssocID="{8DAEB9DC-3CB1-4F23-B2DB-CA985410F4C2}" presName="vert2" presStyleCnt="0"/>
      <dgm:spPr/>
    </dgm:pt>
    <dgm:pt modelId="{81DB2667-891F-46F6-87CB-9D0638423E56}" type="pres">
      <dgm:prSet presAssocID="{8DAEB9DC-3CB1-4F23-B2DB-CA985410F4C2}" presName="thinLine2b" presStyleLbl="callout" presStyleIdx="0" presStyleCnt="2"/>
      <dgm:spPr/>
    </dgm:pt>
    <dgm:pt modelId="{E0DB8A00-2A7A-4B90-AC2F-B1E0849E1DBE}" type="pres">
      <dgm:prSet presAssocID="{8DAEB9DC-3CB1-4F23-B2DB-CA985410F4C2}" presName="vertSpace2b" presStyleCnt="0"/>
      <dgm:spPr/>
    </dgm:pt>
    <dgm:pt modelId="{C53C17A6-55AC-4EAA-9EA1-D63E2AAA0025}" type="pres">
      <dgm:prSet presAssocID="{B2A23F94-A4EC-4C97-BB35-F92B83B780A0}" presName="horz2" presStyleCnt="0"/>
      <dgm:spPr/>
    </dgm:pt>
    <dgm:pt modelId="{B4DE0A4A-DE8D-4CA4-A73D-F4986CE47A4E}" type="pres">
      <dgm:prSet presAssocID="{B2A23F94-A4EC-4C97-BB35-F92B83B780A0}" presName="horzSpace2" presStyleCnt="0"/>
      <dgm:spPr/>
    </dgm:pt>
    <dgm:pt modelId="{5B07DF82-DC38-4B52-A931-DAA4389F017B}" type="pres">
      <dgm:prSet presAssocID="{B2A23F94-A4EC-4C97-BB35-F92B83B780A0}" presName="tx2" presStyleLbl="revTx" presStyleIdx="2" presStyleCnt="3"/>
      <dgm:spPr/>
      <dgm:t>
        <a:bodyPr/>
        <a:lstStyle/>
        <a:p>
          <a:endParaRPr lang="en-US"/>
        </a:p>
      </dgm:t>
    </dgm:pt>
    <dgm:pt modelId="{10DDAC69-CCBF-4A78-814D-67B72EC11F79}" type="pres">
      <dgm:prSet presAssocID="{B2A23F94-A4EC-4C97-BB35-F92B83B780A0}" presName="vert2" presStyleCnt="0"/>
      <dgm:spPr/>
    </dgm:pt>
    <dgm:pt modelId="{6B27170D-1061-408B-8B34-5CBCA78B88AB}" type="pres">
      <dgm:prSet presAssocID="{B2A23F94-A4EC-4C97-BB35-F92B83B780A0}" presName="thinLine2b" presStyleLbl="callout" presStyleIdx="1" presStyleCnt="2"/>
      <dgm:spPr/>
    </dgm:pt>
    <dgm:pt modelId="{279E605E-E053-4D98-A68A-BD230BE9CCD2}" type="pres">
      <dgm:prSet presAssocID="{B2A23F94-A4EC-4C97-BB35-F92B83B780A0}" presName="vertSpace2b" presStyleCnt="0"/>
      <dgm:spPr/>
    </dgm:pt>
  </dgm:ptLst>
  <dgm:cxnLst>
    <dgm:cxn modelId="{D479ABDE-EDBA-46B3-99F9-DF21A141CAF5}" srcId="{AA7F129A-39F8-4E37-A51A-8A89915D0C69}" destId="{B2A23F94-A4EC-4C97-BB35-F92B83B780A0}" srcOrd="1" destOrd="0" parTransId="{8F6F6E59-92AB-479B-BB5F-0F775359712A}" sibTransId="{41A893FE-0153-48B5-A0B0-D09CE5430403}"/>
    <dgm:cxn modelId="{CDA2D0D8-F605-4EA0-B12C-74EB4870C248}" srcId="{AA7F129A-39F8-4E37-A51A-8A89915D0C69}" destId="{8DAEB9DC-3CB1-4F23-B2DB-CA985410F4C2}" srcOrd="0" destOrd="0" parTransId="{94297B8E-4E83-4E2C-881D-C820F5DD3E9A}" sibTransId="{E61B12C0-DD26-4203-838C-DC3BBEAF4A3F}"/>
    <dgm:cxn modelId="{5BD7F51D-51B0-491D-9A7E-62E915CB135A}" type="presOf" srcId="{B2A23F94-A4EC-4C97-BB35-F92B83B780A0}" destId="{5B07DF82-DC38-4B52-A931-DAA4389F017B}" srcOrd="0" destOrd="0" presId="urn:microsoft.com/office/officeart/2008/layout/LinedList"/>
    <dgm:cxn modelId="{0E8C992E-7BCF-4AF3-B86C-BD429208E5B3}" type="presOf" srcId="{50A5FF14-6E91-44FA-A51B-1C31DF6FC79F}" destId="{DC1747FD-EA5B-459F-BCA8-A4B901B6DCE8}" srcOrd="0" destOrd="0" presId="urn:microsoft.com/office/officeart/2008/layout/LinedList"/>
    <dgm:cxn modelId="{B92730E8-BBA6-4CC4-9228-702B64AABD1D}" type="presOf" srcId="{AA7F129A-39F8-4E37-A51A-8A89915D0C69}" destId="{44949010-F43F-4273-BF25-436505F95A4B}" srcOrd="0" destOrd="0" presId="urn:microsoft.com/office/officeart/2008/layout/LinedList"/>
    <dgm:cxn modelId="{E76A9518-2FAE-46BA-9C12-6E06DACB0B5D}" srcId="{50A5FF14-6E91-44FA-A51B-1C31DF6FC79F}" destId="{AA7F129A-39F8-4E37-A51A-8A89915D0C69}" srcOrd="0" destOrd="0" parTransId="{63BF66A6-09F3-4527-88E3-6381FFBE5AD5}" sibTransId="{BA214040-64A2-4A16-B651-4D733AFFE4C6}"/>
    <dgm:cxn modelId="{0D03DDB4-6575-47F9-AE6A-C6E9F789A458}" type="presOf" srcId="{8DAEB9DC-3CB1-4F23-B2DB-CA985410F4C2}" destId="{84131AAB-2705-453B-9466-179E67A33C0A}" srcOrd="0" destOrd="0" presId="urn:microsoft.com/office/officeart/2008/layout/LinedList"/>
    <dgm:cxn modelId="{64F70EA9-E0D5-417D-864C-31486F6A85AD}" type="presParOf" srcId="{DC1747FD-EA5B-459F-BCA8-A4B901B6DCE8}" destId="{5CF985C4-2067-4047-BA7D-3E7421B6ADF5}" srcOrd="0" destOrd="0" presId="urn:microsoft.com/office/officeart/2008/layout/LinedList"/>
    <dgm:cxn modelId="{C1B7A34D-530E-47A7-91D7-C800FA9815BF}" type="presParOf" srcId="{DC1747FD-EA5B-459F-BCA8-A4B901B6DCE8}" destId="{D309DAB1-D711-4676-B0C9-9800CF1508A1}" srcOrd="1" destOrd="0" presId="urn:microsoft.com/office/officeart/2008/layout/LinedList"/>
    <dgm:cxn modelId="{2C78FD2D-37D7-4369-91FA-1F840741056F}" type="presParOf" srcId="{D309DAB1-D711-4676-B0C9-9800CF1508A1}" destId="{44949010-F43F-4273-BF25-436505F95A4B}" srcOrd="0" destOrd="0" presId="urn:microsoft.com/office/officeart/2008/layout/LinedList"/>
    <dgm:cxn modelId="{B99417BA-4126-4209-9BEC-18AAB49DC406}" type="presParOf" srcId="{D309DAB1-D711-4676-B0C9-9800CF1508A1}" destId="{75D8827E-E612-4E90-9865-159664BEB206}" srcOrd="1" destOrd="0" presId="urn:microsoft.com/office/officeart/2008/layout/LinedList"/>
    <dgm:cxn modelId="{E02007E7-E1DF-4274-8FE0-6FB3C3A66081}" type="presParOf" srcId="{75D8827E-E612-4E90-9865-159664BEB206}" destId="{4ADF22E8-3100-462E-BD11-86CD665F8D0C}" srcOrd="0" destOrd="0" presId="urn:microsoft.com/office/officeart/2008/layout/LinedList"/>
    <dgm:cxn modelId="{DA0B616F-AE33-46D9-87A4-66944C690BC5}" type="presParOf" srcId="{75D8827E-E612-4E90-9865-159664BEB206}" destId="{E89453A4-B185-47D3-849E-E9CABF201404}" srcOrd="1" destOrd="0" presId="urn:microsoft.com/office/officeart/2008/layout/LinedList"/>
    <dgm:cxn modelId="{F54ADEE6-4C35-4068-B457-06954853783E}" type="presParOf" srcId="{E89453A4-B185-47D3-849E-E9CABF201404}" destId="{464B60E8-6366-42D9-A004-6BC91C48E882}" srcOrd="0" destOrd="0" presId="urn:microsoft.com/office/officeart/2008/layout/LinedList"/>
    <dgm:cxn modelId="{6FF1E083-4F64-4626-A4A1-D1744CE7C88C}" type="presParOf" srcId="{E89453A4-B185-47D3-849E-E9CABF201404}" destId="{84131AAB-2705-453B-9466-179E67A33C0A}" srcOrd="1" destOrd="0" presId="urn:microsoft.com/office/officeart/2008/layout/LinedList"/>
    <dgm:cxn modelId="{15E72954-81A2-41BE-9622-44DB2C7E3C38}" type="presParOf" srcId="{E89453A4-B185-47D3-849E-E9CABF201404}" destId="{5AF543EF-8350-4780-A716-140E37046FB1}" srcOrd="2" destOrd="0" presId="urn:microsoft.com/office/officeart/2008/layout/LinedList"/>
    <dgm:cxn modelId="{8CFAE725-CB2D-458A-BE93-2C98F9523048}" type="presParOf" srcId="{75D8827E-E612-4E90-9865-159664BEB206}" destId="{81DB2667-891F-46F6-87CB-9D0638423E56}" srcOrd="2" destOrd="0" presId="urn:microsoft.com/office/officeart/2008/layout/LinedList"/>
    <dgm:cxn modelId="{2B16B153-A7AB-4CBE-A623-3431AB9DF3CA}" type="presParOf" srcId="{75D8827E-E612-4E90-9865-159664BEB206}" destId="{E0DB8A00-2A7A-4B90-AC2F-B1E0849E1DBE}" srcOrd="3" destOrd="0" presId="urn:microsoft.com/office/officeart/2008/layout/LinedList"/>
    <dgm:cxn modelId="{48B75B82-327E-4C6A-B2A3-5E0777A35954}" type="presParOf" srcId="{75D8827E-E612-4E90-9865-159664BEB206}" destId="{C53C17A6-55AC-4EAA-9EA1-D63E2AAA0025}" srcOrd="4" destOrd="0" presId="urn:microsoft.com/office/officeart/2008/layout/LinedList"/>
    <dgm:cxn modelId="{9D2F8B5F-B814-460B-BD60-72E82C5EDD87}" type="presParOf" srcId="{C53C17A6-55AC-4EAA-9EA1-D63E2AAA0025}" destId="{B4DE0A4A-DE8D-4CA4-A73D-F4986CE47A4E}" srcOrd="0" destOrd="0" presId="urn:microsoft.com/office/officeart/2008/layout/LinedList"/>
    <dgm:cxn modelId="{198CF2CA-7868-4B1A-9C79-7FC025D662C3}" type="presParOf" srcId="{C53C17A6-55AC-4EAA-9EA1-D63E2AAA0025}" destId="{5B07DF82-DC38-4B52-A931-DAA4389F017B}" srcOrd="1" destOrd="0" presId="urn:microsoft.com/office/officeart/2008/layout/LinedList"/>
    <dgm:cxn modelId="{6FC61405-67FA-4EB3-B020-C7F0F8C81DE1}" type="presParOf" srcId="{C53C17A6-55AC-4EAA-9EA1-D63E2AAA0025}" destId="{10DDAC69-CCBF-4A78-814D-67B72EC11F79}" srcOrd="2" destOrd="0" presId="urn:microsoft.com/office/officeart/2008/layout/LinedList"/>
    <dgm:cxn modelId="{C326CF11-ACBF-4EDD-A856-014AE45B9E42}" type="presParOf" srcId="{75D8827E-E612-4E90-9865-159664BEB206}" destId="{6B27170D-1061-408B-8B34-5CBCA78B88AB}" srcOrd="5" destOrd="0" presId="urn:microsoft.com/office/officeart/2008/layout/LinedList"/>
    <dgm:cxn modelId="{DB6FC8BB-5A6D-4145-9947-950247A607E6}" type="presParOf" srcId="{75D8827E-E612-4E90-9865-159664BEB206}" destId="{279E605E-E053-4D98-A68A-BD230BE9CCD2}" srcOrd="6"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A0C0224A-C1E9-4653-8FE2-9A8836151C0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80060EA9-3D16-45FE-98D4-BB4B85EE8530}">
      <dgm:prSet phldrT="[Текст]"/>
      <dgm:spPr/>
      <dgm:t>
        <a:bodyPr/>
        <a:lstStyle/>
        <a:p>
          <a:r>
            <a:rPr lang="uk-UA" b="0" i="0" noProof="0" dirty="0">
              <a:solidFill>
                <a:schemeClr val="tx1"/>
              </a:solidFill>
            </a:rPr>
            <a:t>Закон України «Про організацію трудових відносин в умовах воєнного стану», що набув чинності 24.03.2022 р., не дає безапеляційних підстав не виплачувати заробітну плату працівникам.</a:t>
          </a:r>
          <a:endParaRPr lang="uk-UA" noProof="0" dirty="0">
            <a:solidFill>
              <a:schemeClr val="tx1"/>
            </a:solidFill>
          </a:endParaRPr>
        </a:p>
      </dgm:t>
    </dgm:pt>
    <dgm:pt modelId="{A4B3BCED-B76F-4BB0-9A5D-664C1A81DD09}" type="parTrans" cxnId="{648D65C7-4557-4B50-B0C4-CA5F81D8C5D7}">
      <dgm:prSet/>
      <dgm:spPr/>
      <dgm:t>
        <a:bodyPr/>
        <a:lstStyle/>
        <a:p>
          <a:endParaRPr lang="ru-UA"/>
        </a:p>
      </dgm:t>
    </dgm:pt>
    <dgm:pt modelId="{CDBA8231-51EE-4AC1-BAD5-3D5F004BA37C}" type="sibTrans" cxnId="{648D65C7-4557-4B50-B0C4-CA5F81D8C5D7}">
      <dgm:prSet/>
      <dgm:spPr/>
      <dgm:t>
        <a:bodyPr/>
        <a:lstStyle/>
        <a:p>
          <a:endParaRPr lang="ru-UA"/>
        </a:p>
      </dgm:t>
    </dgm:pt>
    <dgm:pt modelId="{8443DCA0-70AA-4184-883F-2C4E982138DC}">
      <dgm:prSet phldrT="[Текст]" custT="1"/>
      <dgm:spPr/>
      <dgm:t>
        <a:bodyPr/>
        <a:lstStyle/>
        <a:p>
          <a:r>
            <a:rPr lang="uk-UA" sz="4000" b="0" i="0" noProof="0" dirty="0"/>
            <a:t>Роботодавець повинен вживати всіх можливих заходів для забезпечення реалізації права працівників на своєчасне отримання заробітної плати.</a:t>
          </a:r>
          <a:endParaRPr lang="uk-UA" sz="4000" noProof="0" dirty="0"/>
        </a:p>
      </dgm:t>
    </dgm:pt>
    <dgm:pt modelId="{8B05BDA8-D225-460A-98A8-0D989B0A9272}" type="parTrans" cxnId="{D8DA762D-C157-433A-B8D4-CFC1616BC3B1}">
      <dgm:prSet/>
      <dgm:spPr/>
      <dgm:t>
        <a:bodyPr/>
        <a:lstStyle/>
        <a:p>
          <a:endParaRPr lang="ru-UA"/>
        </a:p>
      </dgm:t>
    </dgm:pt>
    <dgm:pt modelId="{D6791F52-43E5-4A16-820C-2DD1818B38FE}" type="sibTrans" cxnId="{D8DA762D-C157-433A-B8D4-CFC1616BC3B1}">
      <dgm:prSet/>
      <dgm:spPr/>
      <dgm:t>
        <a:bodyPr/>
        <a:lstStyle/>
        <a:p>
          <a:endParaRPr lang="ru-UA"/>
        </a:p>
      </dgm:t>
    </dgm:pt>
    <dgm:pt modelId="{D58A9573-D2B2-480F-9ACD-DEF46C9A50CC}">
      <dgm:prSet phldrT="[Текст]"/>
      <dgm:spPr/>
      <dgm:t>
        <a:bodyPr/>
        <a:lstStyle/>
        <a:p>
          <a:r>
            <a:rPr lang="uk-UA" b="0" i="0" noProof="0" dirty="0">
              <a:solidFill>
                <a:schemeClr val="tx1"/>
              </a:solidFill>
            </a:rPr>
            <a:t>Роботодавець звільняється від відповідальності за порушення зобов`язання щодо строків оплати праці, якщо доведе, що це порушення сталося внаслідок ведення бойових дій або дії інших обставин непереборної сили.</a:t>
          </a:r>
          <a:endParaRPr lang="uk-UA" b="1" noProof="0" dirty="0">
            <a:solidFill>
              <a:schemeClr val="tx1"/>
            </a:solidFill>
          </a:endParaRPr>
        </a:p>
      </dgm:t>
    </dgm:pt>
    <dgm:pt modelId="{D68A264C-465A-4C47-9C39-92463C872FC8}" type="parTrans" cxnId="{B4ABAF62-8B21-4EBD-BF0B-5700A1291B3D}">
      <dgm:prSet/>
      <dgm:spPr/>
      <dgm:t>
        <a:bodyPr/>
        <a:lstStyle/>
        <a:p>
          <a:endParaRPr lang="ru-UA"/>
        </a:p>
      </dgm:t>
    </dgm:pt>
    <dgm:pt modelId="{993F921A-96D9-43CA-AF83-E1E733EF2FE9}" type="sibTrans" cxnId="{B4ABAF62-8B21-4EBD-BF0B-5700A1291B3D}">
      <dgm:prSet/>
      <dgm:spPr/>
      <dgm:t>
        <a:bodyPr/>
        <a:lstStyle/>
        <a:p>
          <a:endParaRPr lang="ru-UA"/>
        </a:p>
      </dgm:t>
    </dgm:pt>
    <dgm:pt modelId="{8861803B-B188-4646-A940-4168F0577496}" type="pres">
      <dgm:prSet presAssocID="{A0C0224A-C1E9-4653-8FE2-9A8836151C02}" presName="linear" presStyleCnt="0">
        <dgm:presLayoutVars>
          <dgm:animLvl val="lvl"/>
          <dgm:resizeHandles val="exact"/>
        </dgm:presLayoutVars>
      </dgm:prSet>
      <dgm:spPr/>
      <dgm:t>
        <a:bodyPr/>
        <a:lstStyle/>
        <a:p>
          <a:endParaRPr lang="en-US"/>
        </a:p>
      </dgm:t>
    </dgm:pt>
    <dgm:pt modelId="{BA32CA74-C898-4810-8215-DDD291D3907C}" type="pres">
      <dgm:prSet presAssocID="{80060EA9-3D16-45FE-98D4-BB4B85EE8530}" presName="parentText" presStyleLbl="node1" presStyleIdx="0" presStyleCnt="2">
        <dgm:presLayoutVars>
          <dgm:chMax val="0"/>
          <dgm:bulletEnabled val="1"/>
        </dgm:presLayoutVars>
      </dgm:prSet>
      <dgm:spPr/>
      <dgm:t>
        <a:bodyPr/>
        <a:lstStyle/>
        <a:p>
          <a:endParaRPr lang="en-US"/>
        </a:p>
      </dgm:t>
    </dgm:pt>
    <dgm:pt modelId="{F2663DDB-AF79-4774-94A4-303448794070}" type="pres">
      <dgm:prSet presAssocID="{80060EA9-3D16-45FE-98D4-BB4B85EE8530}" presName="childText" presStyleLbl="revTx" presStyleIdx="0" presStyleCnt="1">
        <dgm:presLayoutVars>
          <dgm:bulletEnabled val="1"/>
        </dgm:presLayoutVars>
      </dgm:prSet>
      <dgm:spPr/>
      <dgm:t>
        <a:bodyPr/>
        <a:lstStyle/>
        <a:p>
          <a:endParaRPr lang="en-US"/>
        </a:p>
      </dgm:t>
    </dgm:pt>
    <dgm:pt modelId="{D69BF492-A030-4636-B7E7-C0086D7751C0}" type="pres">
      <dgm:prSet presAssocID="{D58A9573-D2B2-480F-9ACD-DEF46C9A50CC}" presName="parentText" presStyleLbl="node1" presStyleIdx="1" presStyleCnt="2">
        <dgm:presLayoutVars>
          <dgm:chMax val="0"/>
          <dgm:bulletEnabled val="1"/>
        </dgm:presLayoutVars>
      </dgm:prSet>
      <dgm:spPr/>
      <dgm:t>
        <a:bodyPr/>
        <a:lstStyle/>
        <a:p>
          <a:endParaRPr lang="en-US"/>
        </a:p>
      </dgm:t>
    </dgm:pt>
  </dgm:ptLst>
  <dgm:cxnLst>
    <dgm:cxn modelId="{D8DA762D-C157-433A-B8D4-CFC1616BC3B1}" srcId="{80060EA9-3D16-45FE-98D4-BB4B85EE8530}" destId="{8443DCA0-70AA-4184-883F-2C4E982138DC}" srcOrd="0" destOrd="0" parTransId="{8B05BDA8-D225-460A-98A8-0D989B0A9272}" sibTransId="{D6791F52-43E5-4A16-820C-2DD1818B38FE}"/>
    <dgm:cxn modelId="{8A5857A4-0C8D-41DE-A6B3-C0F1AE7A0429}" type="presOf" srcId="{8443DCA0-70AA-4184-883F-2C4E982138DC}" destId="{F2663DDB-AF79-4774-94A4-303448794070}" srcOrd="0" destOrd="0" presId="urn:microsoft.com/office/officeart/2005/8/layout/vList2"/>
    <dgm:cxn modelId="{1CEA8E63-08F9-410C-B9D5-11785AA619AF}" type="presOf" srcId="{A0C0224A-C1E9-4653-8FE2-9A8836151C02}" destId="{8861803B-B188-4646-A940-4168F0577496}" srcOrd="0" destOrd="0" presId="urn:microsoft.com/office/officeart/2005/8/layout/vList2"/>
    <dgm:cxn modelId="{709EF28B-602E-4B80-97EB-BBAB7567F642}" type="presOf" srcId="{D58A9573-D2B2-480F-9ACD-DEF46C9A50CC}" destId="{D69BF492-A030-4636-B7E7-C0086D7751C0}" srcOrd="0" destOrd="0" presId="urn:microsoft.com/office/officeart/2005/8/layout/vList2"/>
    <dgm:cxn modelId="{B4ABAF62-8B21-4EBD-BF0B-5700A1291B3D}" srcId="{A0C0224A-C1E9-4653-8FE2-9A8836151C02}" destId="{D58A9573-D2B2-480F-9ACD-DEF46C9A50CC}" srcOrd="1" destOrd="0" parTransId="{D68A264C-465A-4C47-9C39-92463C872FC8}" sibTransId="{993F921A-96D9-43CA-AF83-E1E733EF2FE9}"/>
    <dgm:cxn modelId="{648D65C7-4557-4B50-B0C4-CA5F81D8C5D7}" srcId="{A0C0224A-C1E9-4653-8FE2-9A8836151C02}" destId="{80060EA9-3D16-45FE-98D4-BB4B85EE8530}" srcOrd="0" destOrd="0" parTransId="{A4B3BCED-B76F-4BB0-9A5D-664C1A81DD09}" sibTransId="{CDBA8231-51EE-4AC1-BAD5-3D5F004BA37C}"/>
    <dgm:cxn modelId="{17BC3CDC-59C3-4886-A1FD-03672C8E201D}" type="presOf" srcId="{80060EA9-3D16-45FE-98D4-BB4B85EE8530}" destId="{BA32CA74-C898-4810-8215-DDD291D3907C}" srcOrd="0" destOrd="0" presId="urn:microsoft.com/office/officeart/2005/8/layout/vList2"/>
    <dgm:cxn modelId="{9AC7C7A2-CEC6-4484-ACDB-26866C05C99A}" type="presParOf" srcId="{8861803B-B188-4646-A940-4168F0577496}" destId="{BA32CA74-C898-4810-8215-DDD291D3907C}" srcOrd="0" destOrd="0" presId="urn:microsoft.com/office/officeart/2005/8/layout/vList2"/>
    <dgm:cxn modelId="{96F5E15F-86A9-44AF-A481-ADBA9194EA64}" type="presParOf" srcId="{8861803B-B188-4646-A940-4168F0577496}" destId="{F2663DDB-AF79-4774-94A4-303448794070}" srcOrd="1" destOrd="0" presId="urn:microsoft.com/office/officeart/2005/8/layout/vList2"/>
    <dgm:cxn modelId="{5F16C589-B235-46E1-B3BB-3AA779B4B456}" type="presParOf" srcId="{8861803B-B188-4646-A940-4168F0577496}" destId="{D69BF492-A030-4636-B7E7-C0086D7751C0}"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279095C-514A-4217-8B07-3A603F80396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A292656E-F39F-4EE7-B72E-C406D908D7CE}">
      <dgm:prSet phldrT="[Текст]"/>
      <dgm:spPr/>
      <dgm:t>
        <a:bodyPr/>
        <a:lstStyle/>
        <a:p>
          <a:r>
            <a:rPr lang="uk-UA" b="0" i="0" noProof="0" dirty="0"/>
            <a:t>Кількість базових годин, під час яких від працівника можуть вимагати працювати, не може перевищувати 40 годин на тиждень, а кількість базових днів не може перевищувати 6 днів на тиждень.</a:t>
          </a:r>
          <a:endParaRPr lang="uk-UA" noProof="0" dirty="0"/>
        </a:p>
      </dgm:t>
    </dgm:pt>
    <dgm:pt modelId="{3645031C-91B4-44FD-BAFB-80D6A4F7A611}" type="parTrans" cxnId="{857EC1AA-B527-4361-A535-9F901924A8E5}">
      <dgm:prSet/>
      <dgm:spPr/>
      <dgm:t>
        <a:bodyPr/>
        <a:lstStyle/>
        <a:p>
          <a:endParaRPr lang="ru-UA"/>
        </a:p>
      </dgm:t>
    </dgm:pt>
    <dgm:pt modelId="{43C04B92-8CD9-47F4-921F-230AD8091E48}" type="sibTrans" cxnId="{857EC1AA-B527-4361-A535-9F901924A8E5}">
      <dgm:prSet/>
      <dgm:spPr/>
      <dgm:t>
        <a:bodyPr/>
        <a:lstStyle/>
        <a:p>
          <a:endParaRPr lang="ru-UA"/>
        </a:p>
      </dgm:t>
    </dgm:pt>
    <dgm:pt modelId="{190751B9-B7EB-4467-B594-4E175A7456E1}">
      <dgm:prSet/>
      <dgm:spPr/>
      <dgm:t>
        <a:bodyPr/>
        <a:lstStyle/>
        <a:p>
          <a:r>
            <a:rPr lang="uk-UA" b="0" i="0" noProof="0" dirty="0"/>
            <a:t>Працівник має право відмовитися від виконання роботи, якщо роботодавець вимагає виконання роботи поза межами базових днів та годин або якщо йому було повідомлено про наявність роботи із порушенням мінімальних строків, визначених трудовим договором з нефіксованим робочим часом.</a:t>
          </a:r>
        </a:p>
      </dgm:t>
    </dgm:pt>
    <dgm:pt modelId="{4E2AF26F-739E-4BCE-B2D8-62280E75AE6C}" type="parTrans" cxnId="{46E7BE3F-33A9-4F15-96FA-EE282FFDEA55}">
      <dgm:prSet/>
      <dgm:spPr/>
      <dgm:t>
        <a:bodyPr/>
        <a:lstStyle/>
        <a:p>
          <a:endParaRPr lang="ru-UA"/>
        </a:p>
      </dgm:t>
    </dgm:pt>
    <dgm:pt modelId="{AE0E23F2-A92F-4AAD-9258-1678693F4AC9}" type="sibTrans" cxnId="{46E7BE3F-33A9-4F15-96FA-EE282FFDEA55}">
      <dgm:prSet/>
      <dgm:spPr/>
      <dgm:t>
        <a:bodyPr/>
        <a:lstStyle/>
        <a:p>
          <a:endParaRPr lang="ru-UA"/>
        </a:p>
      </dgm:t>
    </dgm:pt>
    <dgm:pt modelId="{6BC0DFF3-D6FE-4F76-B7DC-50392520F170}">
      <dgm:prSet/>
      <dgm:spPr/>
      <dgm:t>
        <a:bodyPr/>
        <a:lstStyle/>
        <a:p>
          <a:r>
            <a:rPr lang="uk-UA" b="0" i="0" noProof="0" dirty="0"/>
            <a:t>Відмова працівника від виконання роботи у базові дні та години є підставою для притягнення його до дисциплінарної відповідальності</a:t>
          </a:r>
        </a:p>
      </dgm:t>
    </dgm:pt>
    <dgm:pt modelId="{EFC293E9-0214-4444-B20E-71EB73682C03}" type="parTrans" cxnId="{3904D2C7-3BBA-499A-9932-729F2B07B43D}">
      <dgm:prSet/>
      <dgm:spPr/>
      <dgm:t>
        <a:bodyPr/>
        <a:lstStyle/>
        <a:p>
          <a:endParaRPr lang="ru-UA"/>
        </a:p>
      </dgm:t>
    </dgm:pt>
    <dgm:pt modelId="{CD43064F-BC04-4CA1-8D15-7BA889D5247B}" type="sibTrans" cxnId="{3904D2C7-3BBA-499A-9932-729F2B07B43D}">
      <dgm:prSet/>
      <dgm:spPr/>
      <dgm:t>
        <a:bodyPr/>
        <a:lstStyle/>
        <a:p>
          <a:endParaRPr lang="ru-UA"/>
        </a:p>
      </dgm:t>
    </dgm:pt>
    <dgm:pt modelId="{C1CD491D-25D9-4449-A87C-0E9E2ACFE9F7}" type="pres">
      <dgm:prSet presAssocID="{F279095C-514A-4217-8B07-3A603F803964}" presName="vert0" presStyleCnt="0">
        <dgm:presLayoutVars>
          <dgm:dir/>
          <dgm:animOne val="branch"/>
          <dgm:animLvl val="lvl"/>
        </dgm:presLayoutVars>
      </dgm:prSet>
      <dgm:spPr/>
      <dgm:t>
        <a:bodyPr/>
        <a:lstStyle/>
        <a:p>
          <a:endParaRPr lang="en-US"/>
        </a:p>
      </dgm:t>
    </dgm:pt>
    <dgm:pt modelId="{3B816481-8F4C-4749-81C1-5E6BA3E5A48B}" type="pres">
      <dgm:prSet presAssocID="{A292656E-F39F-4EE7-B72E-C406D908D7CE}" presName="thickLine" presStyleLbl="alignNode1" presStyleIdx="0" presStyleCnt="3"/>
      <dgm:spPr/>
    </dgm:pt>
    <dgm:pt modelId="{E19F52A5-067B-410C-A079-4E58F93A6F30}" type="pres">
      <dgm:prSet presAssocID="{A292656E-F39F-4EE7-B72E-C406D908D7CE}" presName="horz1" presStyleCnt="0"/>
      <dgm:spPr/>
    </dgm:pt>
    <dgm:pt modelId="{781AC98D-C0DC-4C3C-97F3-30E4A99148BE}" type="pres">
      <dgm:prSet presAssocID="{A292656E-F39F-4EE7-B72E-C406D908D7CE}" presName="tx1" presStyleLbl="revTx" presStyleIdx="0" presStyleCnt="3"/>
      <dgm:spPr/>
      <dgm:t>
        <a:bodyPr/>
        <a:lstStyle/>
        <a:p>
          <a:endParaRPr lang="en-US"/>
        </a:p>
      </dgm:t>
    </dgm:pt>
    <dgm:pt modelId="{25B50D2C-41C2-48C6-9922-5B04FD10BC62}" type="pres">
      <dgm:prSet presAssocID="{A292656E-F39F-4EE7-B72E-C406D908D7CE}" presName="vert1" presStyleCnt="0"/>
      <dgm:spPr/>
    </dgm:pt>
    <dgm:pt modelId="{F4E2A415-E3B6-4A8D-87B1-B1311FD21720}" type="pres">
      <dgm:prSet presAssocID="{190751B9-B7EB-4467-B594-4E175A7456E1}" presName="thickLine" presStyleLbl="alignNode1" presStyleIdx="1" presStyleCnt="3"/>
      <dgm:spPr/>
    </dgm:pt>
    <dgm:pt modelId="{8377EEB9-A853-4791-AFCB-441D34D36630}" type="pres">
      <dgm:prSet presAssocID="{190751B9-B7EB-4467-B594-4E175A7456E1}" presName="horz1" presStyleCnt="0"/>
      <dgm:spPr/>
    </dgm:pt>
    <dgm:pt modelId="{F35038C2-CBDA-43AF-80F2-1706F5B1F6C4}" type="pres">
      <dgm:prSet presAssocID="{190751B9-B7EB-4467-B594-4E175A7456E1}" presName="tx1" presStyleLbl="revTx" presStyleIdx="1" presStyleCnt="3"/>
      <dgm:spPr/>
      <dgm:t>
        <a:bodyPr/>
        <a:lstStyle/>
        <a:p>
          <a:endParaRPr lang="en-US"/>
        </a:p>
      </dgm:t>
    </dgm:pt>
    <dgm:pt modelId="{FAF1730B-94BA-41A2-A503-86FF1005A559}" type="pres">
      <dgm:prSet presAssocID="{190751B9-B7EB-4467-B594-4E175A7456E1}" presName="vert1" presStyleCnt="0"/>
      <dgm:spPr/>
    </dgm:pt>
    <dgm:pt modelId="{0AF4CCE7-805C-4D52-BEB5-EF347990F08F}" type="pres">
      <dgm:prSet presAssocID="{6BC0DFF3-D6FE-4F76-B7DC-50392520F170}" presName="thickLine" presStyleLbl="alignNode1" presStyleIdx="2" presStyleCnt="3"/>
      <dgm:spPr/>
    </dgm:pt>
    <dgm:pt modelId="{76185B21-84F6-4B75-A6E0-72E647A05111}" type="pres">
      <dgm:prSet presAssocID="{6BC0DFF3-D6FE-4F76-B7DC-50392520F170}" presName="horz1" presStyleCnt="0"/>
      <dgm:spPr/>
    </dgm:pt>
    <dgm:pt modelId="{0690AD46-6222-472E-AE6D-5120F7631E55}" type="pres">
      <dgm:prSet presAssocID="{6BC0DFF3-D6FE-4F76-B7DC-50392520F170}" presName="tx1" presStyleLbl="revTx" presStyleIdx="2" presStyleCnt="3"/>
      <dgm:spPr/>
      <dgm:t>
        <a:bodyPr/>
        <a:lstStyle/>
        <a:p>
          <a:endParaRPr lang="en-US"/>
        </a:p>
      </dgm:t>
    </dgm:pt>
    <dgm:pt modelId="{2CAC5B27-850B-4D59-B675-D206D8B9CD9B}" type="pres">
      <dgm:prSet presAssocID="{6BC0DFF3-D6FE-4F76-B7DC-50392520F170}" presName="vert1" presStyleCnt="0"/>
      <dgm:spPr/>
    </dgm:pt>
  </dgm:ptLst>
  <dgm:cxnLst>
    <dgm:cxn modelId="{46E7BE3F-33A9-4F15-96FA-EE282FFDEA55}" srcId="{F279095C-514A-4217-8B07-3A603F803964}" destId="{190751B9-B7EB-4467-B594-4E175A7456E1}" srcOrd="1" destOrd="0" parTransId="{4E2AF26F-739E-4BCE-B2D8-62280E75AE6C}" sibTransId="{AE0E23F2-A92F-4AAD-9258-1678693F4AC9}"/>
    <dgm:cxn modelId="{407CED26-DF6B-4668-9293-5053635CBC0D}" type="presOf" srcId="{6BC0DFF3-D6FE-4F76-B7DC-50392520F170}" destId="{0690AD46-6222-472E-AE6D-5120F7631E55}" srcOrd="0" destOrd="0" presId="urn:microsoft.com/office/officeart/2008/layout/LinedList"/>
    <dgm:cxn modelId="{0E6D5DBB-0FEF-46FB-A8EB-77F9C8743417}" type="presOf" srcId="{A292656E-F39F-4EE7-B72E-C406D908D7CE}" destId="{781AC98D-C0DC-4C3C-97F3-30E4A99148BE}" srcOrd="0" destOrd="0" presId="urn:microsoft.com/office/officeart/2008/layout/LinedList"/>
    <dgm:cxn modelId="{90C1AF1A-89A1-4404-AA3D-FDEEFD931967}" type="presOf" srcId="{F279095C-514A-4217-8B07-3A603F803964}" destId="{C1CD491D-25D9-4449-A87C-0E9E2ACFE9F7}" srcOrd="0" destOrd="0" presId="urn:microsoft.com/office/officeart/2008/layout/LinedList"/>
    <dgm:cxn modelId="{3904D2C7-3BBA-499A-9932-729F2B07B43D}" srcId="{F279095C-514A-4217-8B07-3A603F803964}" destId="{6BC0DFF3-D6FE-4F76-B7DC-50392520F170}" srcOrd="2" destOrd="0" parTransId="{EFC293E9-0214-4444-B20E-71EB73682C03}" sibTransId="{CD43064F-BC04-4CA1-8D15-7BA889D5247B}"/>
    <dgm:cxn modelId="{857EC1AA-B527-4361-A535-9F901924A8E5}" srcId="{F279095C-514A-4217-8B07-3A603F803964}" destId="{A292656E-F39F-4EE7-B72E-C406D908D7CE}" srcOrd="0" destOrd="0" parTransId="{3645031C-91B4-44FD-BAFB-80D6A4F7A611}" sibTransId="{43C04B92-8CD9-47F4-921F-230AD8091E48}"/>
    <dgm:cxn modelId="{13273DA0-FE4F-4E85-803C-54642CFEE1CF}" type="presOf" srcId="{190751B9-B7EB-4467-B594-4E175A7456E1}" destId="{F35038C2-CBDA-43AF-80F2-1706F5B1F6C4}" srcOrd="0" destOrd="0" presId="urn:microsoft.com/office/officeart/2008/layout/LinedList"/>
    <dgm:cxn modelId="{A20B1055-B3A5-4D88-8775-B359DC09686C}" type="presParOf" srcId="{C1CD491D-25D9-4449-A87C-0E9E2ACFE9F7}" destId="{3B816481-8F4C-4749-81C1-5E6BA3E5A48B}" srcOrd="0" destOrd="0" presId="urn:microsoft.com/office/officeart/2008/layout/LinedList"/>
    <dgm:cxn modelId="{7C51316B-147A-4AFC-913D-A38002C46191}" type="presParOf" srcId="{C1CD491D-25D9-4449-A87C-0E9E2ACFE9F7}" destId="{E19F52A5-067B-410C-A079-4E58F93A6F30}" srcOrd="1" destOrd="0" presId="urn:microsoft.com/office/officeart/2008/layout/LinedList"/>
    <dgm:cxn modelId="{8441A5D5-3E02-4FB4-845F-1CA0EA1946BC}" type="presParOf" srcId="{E19F52A5-067B-410C-A079-4E58F93A6F30}" destId="{781AC98D-C0DC-4C3C-97F3-30E4A99148BE}" srcOrd="0" destOrd="0" presId="urn:microsoft.com/office/officeart/2008/layout/LinedList"/>
    <dgm:cxn modelId="{980BACE2-CBC0-47DF-ADEB-464F83E5B25B}" type="presParOf" srcId="{E19F52A5-067B-410C-A079-4E58F93A6F30}" destId="{25B50D2C-41C2-48C6-9922-5B04FD10BC62}" srcOrd="1" destOrd="0" presId="urn:microsoft.com/office/officeart/2008/layout/LinedList"/>
    <dgm:cxn modelId="{DA983867-0708-4E8A-BCED-018AF9F69EA9}" type="presParOf" srcId="{C1CD491D-25D9-4449-A87C-0E9E2ACFE9F7}" destId="{F4E2A415-E3B6-4A8D-87B1-B1311FD21720}" srcOrd="2" destOrd="0" presId="urn:microsoft.com/office/officeart/2008/layout/LinedList"/>
    <dgm:cxn modelId="{7250914A-941B-42FB-94A9-9125463B1346}" type="presParOf" srcId="{C1CD491D-25D9-4449-A87C-0E9E2ACFE9F7}" destId="{8377EEB9-A853-4791-AFCB-441D34D36630}" srcOrd="3" destOrd="0" presId="urn:microsoft.com/office/officeart/2008/layout/LinedList"/>
    <dgm:cxn modelId="{B3DB38CC-7FF1-4CCF-AA0A-85F60F498F03}" type="presParOf" srcId="{8377EEB9-A853-4791-AFCB-441D34D36630}" destId="{F35038C2-CBDA-43AF-80F2-1706F5B1F6C4}" srcOrd="0" destOrd="0" presId="urn:microsoft.com/office/officeart/2008/layout/LinedList"/>
    <dgm:cxn modelId="{9E6DE844-EA1E-418D-A284-F2F5F60D266C}" type="presParOf" srcId="{8377EEB9-A853-4791-AFCB-441D34D36630}" destId="{FAF1730B-94BA-41A2-A503-86FF1005A559}" srcOrd="1" destOrd="0" presId="urn:microsoft.com/office/officeart/2008/layout/LinedList"/>
    <dgm:cxn modelId="{034B213E-789B-4C02-A75F-CDAEC709ABF6}" type="presParOf" srcId="{C1CD491D-25D9-4449-A87C-0E9E2ACFE9F7}" destId="{0AF4CCE7-805C-4D52-BEB5-EF347990F08F}" srcOrd="4" destOrd="0" presId="urn:microsoft.com/office/officeart/2008/layout/LinedList"/>
    <dgm:cxn modelId="{FDD8CEF5-ED87-462E-99C1-3A21EC24493A}" type="presParOf" srcId="{C1CD491D-25D9-4449-A87C-0E9E2ACFE9F7}" destId="{76185B21-84F6-4B75-A6E0-72E647A05111}" srcOrd="5" destOrd="0" presId="urn:microsoft.com/office/officeart/2008/layout/LinedList"/>
    <dgm:cxn modelId="{31B34942-71C9-486B-8553-A0D13029BFF3}" type="presParOf" srcId="{76185B21-84F6-4B75-A6E0-72E647A05111}" destId="{0690AD46-6222-472E-AE6D-5120F7631E55}" srcOrd="0" destOrd="0" presId="urn:microsoft.com/office/officeart/2008/layout/LinedList"/>
    <dgm:cxn modelId="{49A88E8A-9F4D-437D-A328-89028B70C358}" type="presParOf" srcId="{76185B21-84F6-4B75-A6E0-72E647A05111}" destId="{2CAC5B27-850B-4D59-B675-D206D8B9CD9B}"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A0C0224A-C1E9-4653-8FE2-9A8836151C0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80060EA9-3D16-45FE-98D4-BB4B85EE8530}">
      <dgm:prSet phldrT="[Текст]"/>
      <dgm:spPr/>
      <dgm:t>
        <a:bodyPr/>
        <a:lstStyle/>
        <a:p>
          <a:pPr algn="ctr"/>
          <a:r>
            <a:rPr lang="uk-UA" b="0" i="0" noProof="0" dirty="0">
              <a:solidFill>
                <a:schemeClr val="tx1"/>
              </a:solidFill>
            </a:rPr>
            <a:t>Звільнення роботодавця від відповідальності за несвоєчасну оплату праці не звільняє його від обов`язку виплати заробітної плати.</a:t>
          </a:r>
          <a:endParaRPr lang="uk-UA" noProof="0" dirty="0">
            <a:solidFill>
              <a:schemeClr val="tx1"/>
            </a:solidFill>
          </a:endParaRPr>
        </a:p>
      </dgm:t>
    </dgm:pt>
    <dgm:pt modelId="{A4B3BCED-B76F-4BB0-9A5D-664C1A81DD09}" type="parTrans" cxnId="{648D65C7-4557-4B50-B0C4-CA5F81D8C5D7}">
      <dgm:prSet/>
      <dgm:spPr/>
      <dgm:t>
        <a:bodyPr/>
        <a:lstStyle/>
        <a:p>
          <a:endParaRPr lang="ru-UA"/>
        </a:p>
      </dgm:t>
    </dgm:pt>
    <dgm:pt modelId="{CDBA8231-51EE-4AC1-BAD5-3D5F004BA37C}" type="sibTrans" cxnId="{648D65C7-4557-4B50-B0C4-CA5F81D8C5D7}">
      <dgm:prSet/>
      <dgm:spPr/>
      <dgm:t>
        <a:bodyPr/>
        <a:lstStyle/>
        <a:p>
          <a:endParaRPr lang="ru-UA"/>
        </a:p>
      </dgm:t>
    </dgm:pt>
    <dgm:pt modelId="{8861803B-B188-4646-A940-4168F0577496}" type="pres">
      <dgm:prSet presAssocID="{A0C0224A-C1E9-4653-8FE2-9A8836151C02}" presName="linear" presStyleCnt="0">
        <dgm:presLayoutVars>
          <dgm:animLvl val="lvl"/>
          <dgm:resizeHandles val="exact"/>
        </dgm:presLayoutVars>
      </dgm:prSet>
      <dgm:spPr/>
      <dgm:t>
        <a:bodyPr/>
        <a:lstStyle/>
        <a:p>
          <a:endParaRPr lang="en-US"/>
        </a:p>
      </dgm:t>
    </dgm:pt>
    <dgm:pt modelId="{BA32CA74-C898-4810-8215-DDD291D3907C}" type="pres">
      <dgm:prSet presAssocID="{80060EA9-3D16-45FE-98D4-BB4B85EE8530}" presName="parentText" presStyleLbl="node1" presStyleIdx="0" presStyleCnt="1">
        <dgm:presLayoutVars>
          <dgm:chMax val="0"/>
          <dgm:bulletEnabled val="1"/>
        </dgm:presLayoutVars>
      </dgm:prSet>
      <dgm:spPr/>
      <dgm:t>
        <a:bodyPr/>
        <a:lstStyle/>
        <a:p>
          <a:endParaRPr lang="en-US"/>
        </a:p>
      </dgm:t>
    </dgm:pt>
  </dgm:ptLst>
  <dgm:cxnLst>
    <dgm:cxn modelId="{1CEA8E63-08F9-410C-B9D5-11785AA619AF}" type="presOf" srcId="{A0C0224A-C1E9-4653-8FE2-9A8836151C02}" destId="{8861803B-B188-4646-A940-4168F0577496}" srcOrd="0" destOrd="0" presId="urn:microsoft.com/office/officeart/2005/8/layout/vList2"/>
    <dgm:cxn modelId="{648D65C7-4557-4B50-B0C4-CA5F81D8C5D7}" srcId="{A0C0224A-C1E9-4653-8FE2-9A8836151C02}" destId="{80060EA9-3D16-45FE-98D4-BB4B85EE8530}" srcOrd="0" destOrd="0" parTransId="{A4B3BCED-B76F-4BB0-9A5D-664C1A81DD09}" sibTransId="{CDBA8231-51EE-4AC1-BAD5-3D5F004BA37C}"/>
    <dgm:cxn modelId="{17BC3CDC-59C3-4886-A1FD-03672C8E201D}" type="presOf" srcId="{80060EA9-3D16-45FE-98D4-BB4B85EE8530}" destId="{BA32CA74-C898-4810-8215-DDD291D3907C}" srcOrd="0" destOrd="0" presId="urn:microsoft.com/office/officeart/2005/8/layout/vList2"/>
    <dgm:cxn modelId="{9AC7C7A2-CEC6-4484-ACDB-26866C05C99A}" type="presParOf" srcId="{8861803B-B188-4646-A940-4168F0577496}" destId="{BA32CA74-C898-4810-8215-DDD291D3907C}"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445C263F-915C-4719-B803-201518D9C584}"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ru-UA"/>
        </a:p>
      </dgm:t>
    </dgm:pt>
    <dgm:pt modelId="{9D6F1614-B7E3-4166-A033-BEE74A3ECDA3}">
      <dgm:prSet phldrT="[Текст]"/>
      <dgm:spPr/>
      <dgm:t>
        <a:bodyPr/>
        <a:lstStyle/>
        <a:p>
          <a:r>
            <a:rPr lang="uk-UA" noProof="0" dirty="0"/>
            <a:t>Позов задовольнити</a:t>
          </a:r>
        </a:p>
      </dgm:t>
    </dgm:pt>
    <dgm:pt modelId="{6AD0B29E-C478-46D5-9AB2-A64CC432B625}" type="parTrans" cxnId="{BC53F2DB-333E-451C-895A-67BCAD89A7A1}">
      <dgm:prSet/>
      <dgm:spPr/>
      <dgm:t>
        <a:bodyPr/>
        <a:lstStyle/>
        <a:p>
          <a:endParaRPr lang="ru-UA"/>
        </a:p>
      </dgm:t>
    </dgm:pt>
    <dgm:pt modelId="{A1F976C2-2487-4E6C-9935-B5ECB5A13F21}" type="sibTrans" cxnId="{BC53F2DB-333E-451C-895A-67BCAD89A7A1}">
      <dgm:prSet/>
      <dgm:spPr/>
      <dgm:t>
        <a:bodyPr/>
        <a:lstStyle/>
        <a:p>
          <a:endParaRPr lang="ru-UA"/>
        </a:p>
      </dgm:t>
    </dgm:pt>
    <dgm:pt modelId="{E91835FD-D3ED-42E9-BE54-C91A40EB21C8}">
      <dgm:prSet phldrT="[Текст]"/>
      <dgm:spPr/>
      <dgm:t>
        <a:bodyPr/>
        <a:lstStyle/>
        <a:p>
          <a:r>
            <a:rPr lang="uk-UA" b="0" i="0" noProof="0" dirty="0"/>
            <a:t>Стягнути заборгованість в розмірі 92018 </a:t>
          </a:r>
          <a:endParaRPr lang="uk-UA" noProof="0" dirty="0"/>
        </a:p>
      </dgm:t>
    </dgm:pt>
    <dgm:pt modelId="{199E5DEE-4201-4FED-B1BE-DCF774AF1640}" type="parTrans" cxnId="{E744E643-FEC7-4C9B-A757-BAE2D7F8B1DC}">
      <dgm:prSet/>
      <dgm:spPr/>
      <dgm:t>
        <a:bodyPr/>
        <a:lstStyle/>
        <a:p>
          <a:endParaRPr lang="ru-UA"/>
        </a:p>
      </dgm:t>
    </dgm:pt>
    <dgm:pt modelId="{CB1EC49B-70CC-4723-A72D-678F14872D98}" type="sibTrans" cxnId="{E744E643-FEC7-4C9B-A757-BAE2D7F8B1DC}">
      <dgm:prSet/>
      <dgm:spPr/>
      <dgm:t>
        <a:bodyPr/>
        <a:lstStyle/>
        <a:p>
          <a:endParaRPr lang="ru-UA"/>
        </a:p>
      </dgm:t>
    </dgm:pt>
    <dgm:pt modelId="{AF99E733-C2C0-44F6-9933-485793069EED}">
      <dgm:prSet phldrT="[Текст]"/>
      <dgm:spPr/>
      <dgm:t>
        <a:bodyPr/>
        <a:lstStyle/>
        <a:p>
          <a:r>
            <a:rPr lang="uk-UA" noProof="0" dirty="0"/>
            <a:t>Стягнути судовий збір</a:t>
          </a:r>
        </a:p>
        <a:p>
          <a:endParaRPr lang="uk-UA" noProof="0" dirty="0"/>
        </a:p>
      </dgm:t>
    </dgm:pt>
    <dgm:pt modelId="{E0110A8F-B510-46A1-B465-BEBFE84502C2}" type="parTrans" cxnId="{45F334CB-917D-47FC-BD29-4DF0FE8D84DE}">
      <dgm:prSet/>
      <dgm:spPr/>
      <dgm:t>
        <a:bodyPr/>
        <a:lstStyle/>
        <a:p>
          <a:endParaRPr lang="ru-UA"/>
        </a:p>
      </dgm:t>
    </dgm:pt>
    <dgm:pt modelId="{F32980C5-2E7F-45BC-8BE6-6E6F0ADE68BF}" type="sibTrans" cxnId="{45F334CB-917D-47FC-BD29-4DF0FE8D84DE}">
      <dgm:prSet/>
      <dgm:spPr/>
      <dgm:t>
        <a:bodyPr/>
        <a:lstStyle/>
        <a:p>
          <a:endParaRPr lang="ru-UA"/>
        </a:p>
      </dgm:t>
    </dgm:pt>
    <dgm:pt modelId="{2AE84C96-F1CC-47F6-8A80-263DF5C071D6}" type="pres">
      <dgm:prSet presAssocID="{445C263F-915C-4719-B803-201518D9C584}" presName="rootnode" presStyleCnt="0">
        <dgm:presLayoutVars>
          <dgm:chMax/>
          <dgm:chPref/>
          <dgm:dir/>
          <dgm:animLvl val="lvl"/>
        </dgm:presLayoutVars>
      </dgm:prSet>
      <dgm:spPr/>
      <dgm:t>
        <a:bodyPr/>
        <a:lstStyle/>
        <a:p>
          <a:endParaRPr lang="en-US"/>
        </a:p>
      </dgm:t>
    </dgm:pt>
    <dgm:pt modelId="{027F436E-F60E-4FEB-A238-9BBAAAA1871E}" type="pres">
      <dgm:prSet presAssocID="{9D6F1614-B7E3-4166-A033-BEE74A3ECDA3}" presName="composite" presStyleCnt="0"/>
      <dgm:spPr/>
    </dgm:pt>
    <dgm:pt modelId="{6E862C84-9419-4108-8F83-43E4E180EB19}" type="pres">
      <dgm:prSet presAssocID="{9D6F1614-B7E3-4166-A033-BEE74A3ECDA3}" presName="LShape" presStyleLbl="alignNode1" presStyleIdx="0" presStyleCnt="5"/>
      <dgm:spPr/>
    </dgm:pt>
    <dgm:pt modelId="{00E99759-AF57-4683-B740-A753C1B8EA17}" type="pres">
      <dgm:prSet presAssocID="{9D6F1614-B7E3-4166-A033-BEE74A3ECDA3}" presName="ParentText" presStyleLbl="revTx" presStyleIdx="0" presStyleCnt="3">
        <dgm:presLayoutVars>
          <dgm:chMax val="0"/>
          <dgm:chPref val="0"/>
          <dgm:bulletEnabled val="1"/>
        </dgm:presLayoutVars>
      </dgm:prSet>
      <dgm:spPr/>
      <dgm:t>
        <a:bodyPr/>
        <a:lstStyle/>
        <a:p>
          <a:endParaRPr lang="en-US"/>
        </a:p>
      </dgm:t>
    </dgm:pt>
    <dgm:pt modelId="{3170F351-4ECA-4C62-8C1C-6DC424325CA9}" type="pres">
      <dgm:prSet presAssocID="{9D6F1614-B7E3-4166-A033-BEE74A3ECDA3}" presName="Triangle" presStyleLbl="alignNode1" presStyleIdx="1" presStyleCnt="5"/>
      <dgm:spPr/>
    </dgm:pt>
    <dgm:pt modelId="{E5FC8E56-EFFC-456D-9C9E-C0FC1B53B63A}" type="pres">
      <dgm:prSet presAssocID="{A1F976C2-2487-4E6C-9935-B5ECB5A13F21}" presName="sibTrans" presStyleCnt="0"/>
      <dgm:spPr/>
    </dgm:pt>
    <dgm:pt modelId="{63ABC58D-7BDA-4C34-91A2-FFADBBB3F8CD}" type="pres">
      <dgm:prSet presAssocID="{A1F976C2-2487-4E6C-9935-B5ECB5A13F21}" presName="space" presStyleCnt="0"/>
      <dgm:spPr/>
    </dgm:pt>
    <dgm:pt modelId="{87E3E891-1530-40E9-85A6-21F0F55998F2}" type="pres">
      <dgm:prSet presAssocID="{E91835FD-D3ED-42E9-BE54-C91A40EB21C8}" presName="composite" presStyleCnt="0"/>
      <dgm:spPr/>
    </dgm:pt>
    <dgm:pt modelId="{94899ABB-372C-4850-B66A-257AF7B09E4D}" type="pres">
      <dgm:prSet presAssocID="{E91835FD-D3ED-42E9-BE54-C91A40EB21C8}" presName="LShape" presStyleLbl="alignNode1" presStyleIdx="2" presStyleCnt="5"/>
      <dgm:spPr/>
    </dgm:pt>
    <dgm:pt modelId="{031FC2F4-DF6A-4C7E-8BF8-D05818EF8FE7}" type="pres">
      <dgm:prSet presAssocID="{E91835FD-D3ED-42E9-BE54-C91A40EB21C8}" presName="ParentText" presStyleLbl="revTx" presStyleIdx="1" presStyleCnt="3">
        <dgm:presLayoutVars>
          <dgm:chMax val="0"/>
          <dgm:chPref val="0"/>
          <dgm:bulletEnabled val="1"/>
        </dgm:presLayoutVars>
      </dgm:prSet>
      <dgm:spPr/>
      <dgm:t>
        <a:bodyPr/>
        <a:lstStyle/>
        <a:p>
          <a:endParaRPr lang="en-US"/>
        </a:p>
      </dgm:t>
    </dgm:pt>
    <dgm:pt modelId="{D15437D2-EEDE-49CE-B4D3-D29CFC20E53A}" type="pres">
      <dgm:prSet presAssocID="{E91835FD-D3ED-42E9-BE54-C91A40EB21C8}" presName="Triangle" presStyleLbl="alignNode1" presStyleIdx="3" presStyleCnt="5"/>
      <dgm:spPr/>
    </dgm:pt>
    <dgm:pt modelId="{AF6D42BB-05FD-4BF7-88A6-813B51B2D8F2}" type="pres">
      <dgm:prSet presAssocID="{CB1EC49B-70CC-4723-A72D-678F14872D98}" presName="sibTrans" presStyleCnt="0"/>
      <dgm:spPr/>
    </dgm:pt>
    <dgm:pt modelId="{11C5F133-8B13-4692-BE1B-96C1A15CC043}" type="pres">
      <dgm:prSet presAssocID="{CB1EC49B-70CC-4723-A72D-678F14872D98}" presName="space" presStyleCnt="0"/>
      <dgm:spPr/>
    </dgm:pt>
    <dgm:pt modelId="{B9E16EAE-E6DD-43C7-8C6D-0676AF6904C0}" type="pres">
      <dgm:prSet presAssocID="{AF99E733-C2C0-44F6-9933-485793069EED}" presName="composite" presStyleCnt="0"/>
      <dgm:spPr/>
    </dgm:pt>
    <dgm:pt modelId="{D923BDF3-E26B-43A6-94DB-25B7234777CA}" type="pres">
      <dgm:prSet presAssocID="{AF99E733-C2C0-44F6-9933-485793069EED}" presName="LShape" presStyleLbl="alignNode1" presStyleIdx="4" presStyleCnt="5"/>
      <dgm:spPr/>
    </dgm:pt>
    <dgm:pt modelId="{ED261690-8A26-43DD-8A2A-B422A1D2C7A6}" type="pres">
      <dgm:prSet presAssocID="{AF99E733-C2C0-44F6-9933-485793069EED}" presName="ParentText" presStyleLbl="revTx" presStyleIdx="2" presStyleCnt="3">
        <dgm:presLayoutVars>
          <dgm:chMax val="0"/>
          <dgm:chPref val="0"/>
          <dgm:bulletEnabled val="1"/>
        </dgm:presLayoutVars>
      </dgm:prSet>
      <dgm:spPr/>
      <dgm:t>
        <a:bodyPr/>
        <a:lstStyle/>
        <a:p>
          <a:endParaRPr lang="en-US"/>
        </a:p>
      </dgm:t>
    </dgm:pt>
  </dgm:ptLst>
  <dgm:cxnLst>
    <dgm:cxn modelId="{1ADCB34A-FA30-4231-9F4F-C18CB830772F}" type="presOf" srcId="{AF99E733-C2C0-44F6-9933-485793069EED}" destId="{ED261690-8A26-43DD-8A2A-B422A1D2C7A6}" srcOrd="0" destOrd="0" presId="urn:microsoft.com/office/officeart/2009/3/layout/StepUpProcess"/>
    <dgm:cxn modelId="{45F334CB-917D-47FC-BD29-4DF0FE8D84DE}" srcId="{445C263F-915C-4719-B803-201518D9C584}" destId="{AF99E733-C2C0-44F6-9933-485793069EED}" srcOrd="2" destOrd="0" parTransId="{E0110A8F-B510-46A1-B465-BEBFE84502C2}" sibTransId="{F32980C5-2E7F-45BC-8BE6-6E6F0ADE68BF}"/>
    <dgm:cxn modelId="{E744E643-FEC7-4C9B-A757-BAE2D7F8B1DC}" srcId="{445C263F-915C-4719-B803-201518D9C584}" destId="{E91835FD-D3ED-42E9-BE54-C91A40EB21C8}" srcOrd="1" destOrd="0" parTransId="{199E5DEE-4201-4FED-B1BE-DCF774AF1640}" sibTransId="{CB1EC49B-70CC-4723-A72D-678F14872D98}"/>
    <dgm:cxn modelId="{B1410066-45E4-40EE-BF42-48BB0DEC7201}" type="presOf" srcId="{445C263F-915C-4719-B803-201518D9C584}" destId="{2AE84C96-F1CC-47F6-8A80-263DF5C071D6}" srcOrd="0" destOrd="0" presId="urn:microsoft.com/office/officeart/2009/3/layout/StepUpProcess"/>
    <dgm:cxn modelId="{BC53F2DB-333E-451C-895A-67BCAD89A7A1}" srcId="{445C263F-915C-4719-B803-201518D9C584}" destId="{9D6F1614-B7E3-4166-A033-BEE74A3ECDA3}" srcOrd="0" destOrd="0" parTransId="{6AD0B29E-C478-46D5-9AB2-A64CC432B625}" sibTransId="{A1F976C2-2487-4E6C-9935-B5ECB5A13F21}"/>
    <dgm:cxn modelId="{65464339-8605-44B0-8320-7026246C83F2}" type="presOf" srcId="{9D6F1614-B7E3-4166-A033-BEE74A3ECDA3}" destId="{00E99759-AF57-4683-B740-A753C1B8EA17}" srcOrd="0" destOrd="0" presId="urn:microsoft.com/office/officeart/2009/3/layout/StepUpProcess"/>
    <dgm:cxn modelId="{F27EC007-B657-4556-A638-57E5652AADD0}" type="presOf" srcId="{E91835FD-D3ED-42E9-BE54-C91A40EB21C8}" destId="{031FC2F4-DF6A-4C7E-8BF8-D05818EF8FE7}" srcOrd="0" destOrd="0" presId="urn:microsoft.com/office/officeart/2009/3/layout/StepUpProcess"/>
    <dgm:cxn modelId="{F1AD7A59-3B96-4B37-B208-E87FA061C43A}" type="presParOf" srcId="{2AE84C96-F1CC-47F6-8A80-263DF5C071D6}" destId="{027F436E-F60E-4FEB-A238-9BBAAAA1871E}" srcOrd="0" destOrd="0" presId="urn:microsoft.com/office/officeart/2009/3/layout/StepUpProcess"/>
    <dgm:cxn modelId="{96407EF1-6486-4FBA-B577-9DC6E014B637}" type="presParOf" srcId="{027F436E-F60E-4FEB-A238-9BBAAAA1871E}" destId="{6E862C84-9419-4108-8F83-43E4E180EB19}" srcOrd="0" destOrd="0" presId="urn:microsoft.com/office/officeart/2009/3/layout/StepUpProcess"/>
    <dgm:cxn modelId="{B9C760C7-6ED4-48C7-A6C4-7A09F1979210}" type="presParOf" srcId="{027F436E-F60E-4FEB-A238-9BBAAAA1871E}" destId="{00E99759-AF57-4683-B740-A753C1B8EA17}" srcOrd="1" destOrd="0" presId="urn:microsoft.com/office/officeart/2009/3/layout/StepUpProcess"/>
    <dgm:cxn modelId="{36A92634-E780-491A-9E20-8B9E7252C66D}" type="presParOf" srcId="{027F436E-F60E-4FEB-A238-9BBAAAA1871E}" destId="{3170F351-4ECA-4C62-8C1C-6DC424325CA9}" srcOrd="2" destOrd="0" presId="urn:microsoft.com/office/officeart/2009/3/layout/StepUpProcess"/>
    <dgm:cxn modelId="{7F43E901-6672-48B1-9956-874E70213FE0}" type="presParOf" srcId="{2AE84C96-F1CC-47F6-8A80-263DF5C071D6}" destId="{E5FC8E56-EFFC-456D-9C9E-C0FC1B53B63A}" srcOrd="1" destOrd="0" presId="urn:microsoft.com/office/officeart/2009/3/layout/StepUpProcess"/>
    <dgm:cxn modelId="{9E2F23FC-5ABF-481C-9C10-A029695AE778}" type="presParOf" srcId="{E5FC8E56-EFFC-456D-9C9E-C0FC1B53B63A}" destId="{63ABC58D-7BDA-4C34-91A2-FFADBBB3F8CD}" srcOrd="0" destOrd="0" presId="urn:microsoft.com/office/officeart/2009/3/layout/StepUpProcess"/>
    <dgm:cxn modelId="{6D02B948-7980-48EA-907A-F8583B425C77}" type="presParOf" srcId="{2AE84C96-F1CC-47F6-8A80-263DF5C071D6}" destId="{87E3E891-1530-40E9-85A6-21F0F55998F2}" srcOrd="2" destOrd="0" presId="urn:microsoft.com/office/officeart/2009/3/layout/StepUpProcess"/>
    <dgm:cxn modelId="{AC515D60-EC8B-4F57-82F8-708A38FE809C}" type="presParOf" srcId="{87E3E891-1530-40E9-85A6-21F0F55998F2}" destId="{94899ABB-372C-4850-B66A-257AF7B09E4D}" srcOrd="0" destOrd="0" presId="urn:microsoft.com/office/officeart/2009/3/layout/StepUpProcess"/>
    <dgm:cxn modelId="{04F4A1B3-A34E-4802-A1C9-EA14A3EB6812}" type="presParOf" srcId="{87E3E891-1530-40E9-85A6-21F0F55998F2}" destId="{031FC2F4-DF6A-4C7E-8BF8-D05818EF8FE7}" srcOrd="1" destOrd="0" presId="urn:microsoft.com/office/officeart/2009/3/layout/StepUpProcess"/>
    <dgm:cxn modelId="{C030C78B-EAD5-4732-909F-2D363AF46ECF}" type="presParOf" srcId="{87E3E891-1530-40E9-85A6-21F0F55998F2}" destId="{D15437D2-EEDE-49CE-B4D3-D29CFC20E53A}" srcOrd="2" destOrd="0" presId="urn:microsoft.com/office/officeart/2009/3/layout/StepUpProcess"/>
    <dgm:cxn modelId="{3FB35BD6-F507-48F9-B998-C30C550A2467}" type="presParOf" srcId="{2AE84C96-F1CC-47F6-8A80-263DF5C071D6}" destId="{AF6D42BB-05FD-4BF7-88A6-813B51B2D8F2}" srcOrd="3" destOrd="0" presId="urn:microsoft.com/office/officeart/2009/3/layout/StepUpProcess"/>
    <dgm:cxn modelId="{BD30C623-5BE5-456F-89AD-1646D92D1D45}" type="presParOf" srcId="{AF6D42BB-05FD-4BF7-88A6-813B51B2D8F2}" destId="{11C5F133-8B13-4692-BE1B-96C1A15CC043}" srcOrd="0" destOrd="0" presId="urn:microsoft.com/office/officeart/2009/3/layout/StepUpProcess"/>
    <dgm:cxn modelId="{84C1FCA3-B739-42A3-A4F7-FA4D8693468F}" type="presParOf" srcId="{2AE84C96-F1CC-47F6-8A80-263DF5C071D6}" destId="{B9E16EAE-E6DD-43C7-8C6D-0676AF6904C0}" srcOrd="4" destOrd="0" presId="urn:microsoft.com/office/officeart/2009/3/layout/StepUpProcess"/>
    <dgm:cxn modelId="{75ED1F38-201A-4C52-AF4F-168446131491}" type="presParOf" srcId="{B9E16EAE-E6DD-43C7-8C6D-0676AF6904C0}" destId="{D923BDF3-E26B-43A6-94DB-25B7234777CA}" srcOrd="0" destOrd="0" presId="urn:microsoft.com/office/officeart/2009/3/layout/StepUpProcess"/>
    <dgm:cxn modelId="{F33E1A11-8422-41C1-BF88-263336630284}" type="presParOf" srcId="{B9E16EAE-E6DD-43C7-8C6D-0676AF6904C0}" destId="{ED261690-8A26-43DD-8A2A-B422A1D2C7A6}"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50A5FF14-6E91-44FA-A51B-1C31DF6FC79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AA7F129A-39F8-4E37-A51A-8A89915D0C69}">
      <dgm:prSet phldrT="[Текст]"/>
      <dgm:spPr>
        <a:solidFill>
          <a:schemeClr val="accent2">
            <a:lumMod val="20000"/>
            <a:lumOff val="80000"/>
          </a:schemeClr>
        </a:solidFill>
      </dgm:spPr>
      <dgm:t>
        <a:bodyPr vert="vert270"/>
        <a:lstStyle/>
        <a:p>
          <a:pPr algn="ctr"/>
          <a:r>
            <a:rPr lang="uk-UA" noProof="1"/>
            <a:t>Справа про звільнення після припинення простою </a:t>
          </a:r>
          <a:r>
            <a:rPr lang="uk-UA" b="0" i="0" noProof="1"/>
            <a:t>Справа № 554/2454/22</a:t>
          </a:r>
          <a:endParaRPr lang="uk-UA" noProof="1"/>
        </a:p>
      </dgm:t>
    </dgm:pt>
    <dgm:pt modelId="{63BF66A6-09F3-4527-88E3-6381FFBE5AD5}" type="parTrans" cxnId="{E76A9518-2FAE-46BA-9C12-6E06DACB0B5D}">
      <dgm:prSet/>
      <dgm:spPr/>
      <dgm:t>
        <a:bodyPr/>
        <a:lstStyle/>
        <a:p>
          <a:endParaRPr lang="ru-UA"/>
        </a:p>
      </dgm:t>
    </dgm:pt>
    <dgm:pt modelId="{BA214040-64A2-4A16-B651-4D733AFFE4C6}" type="sibTrans" cxnId="{E76A9518-2FAE-46BA-9C12-6E06DACB0B5D}">
      <dgm:prSet/>
      <dgm:spPr/>
      <dgm:t>
        <a:bodyPr/>
        <a:lstStyle/>
        <a:p>
          <a:endParaRPr lang="ru-UA"/>
        </a:p>
      </dgm:t>
    </dgm:pt>
    <dgm:pt modelId="{8DAEB9DC-3CB1-4F23-B2DB-CA985410F4C2}">
      <dgm:prSet phldrT="[Текст]" custT="1"/>
      <dgm:spPr/>
      <dgm:t>
        <a:bodyPr/>
        <a:lstStyle/>
        <a:p>
          <a:pPr rtl="0"/>
          <a:r>
            <a:rPr lang="uk-UA" sz="3200" b="0" i="0" noProof="1"/>
            <a:t>Наказом від 24.02.2022 до відміни для працівників підрозділів регіональної філії встановлено режим простою.</a:t>
          </a:r>
          <a:endParaRPr lang="uk-UA" sz="3200" noProof="1"/>
        </a:p>
      </dgm:t>
    </dgm:pt>
    <dgm:pt modelId="{94297B8E-4E83-4E2C-881D-C820F5DD3E9A}" type="parTrans" cxnId="{CDA2D0D8-F605-4EA0-B12C-74EB4870C248}">
      <dgm:prSet/>
      <dgm:spPr/>
      <dgm:t>
        <a:bodyPr/>
        <a:lstStyle/>
        <a:p>
          <a:endParaRPr lang="ru-UA"/>
        </a:p>
      </dgm:t>
    </dgm:pt>
    <dgm:pt modelId="{E61B12C0-DD26-4203-838C-DC3BBEAF4A3F}" type="sibTrans" cxnId="{CDA2D0D8-F605-4EA0-B12C-74EB4870C248}">
      <dgm:prSet/>
      <dgm:spPr/>
      <dgm:t>
        <a:bodyPr/>
        <a:lstStyle/>
        <a:p>
          <a:endParaRPr lang="ru-UA"/>
        </a:p>
      </dgm:t>
    </dgm:pt>
    <dgm:pt modelId="{B2A23F94-A4EC-4C97-BB35-F92B83B780A0}">
      <dgm:prSet phldrT="[Текст]" custT="1"/>
      <dgm:spPr/>
      <dgm:t>
        <a:bodyPr/>
        <a:lstStyle/>
        <a:p>
          <a:r>
            <a:rPr lang="uk-UA" sz="3200" b="0" i="0" noProof="1"/>
            <a:t>Відповідно до наказу № 121/ВД від 28.02.2022 «Про припинення режиму простою»,припинено простій та зобов`язано стати до роботи: 09, 10 та 11 березня 2022 року, а з 14 березня 2022 року зобов`язано виконувати обов`язки за своєю посадою постійно.</a:t>
          </a:r>
        </a:p>
      </dgm:t>
    </dgm:pt>
    <dgm:pt modelId="{8F6F6E59-92AB-479B-BB5F-0F775359712A}" type="parTrans" cxnId="{D479ABDE-EDBA-46B3-99F9-DF21A141CAF5}">
      <dgm:prSet/>
      <dgm:spPr/>
      <dgm:t>
        <a:bodyPr/>
        <a:lstStyle/>
        <a:p>
          <a:endParaRPr lang="ru-UA"/>
        </a:p>
      </dgm:t>
    </dgm:pt>
    <dgm:pt modelId="{41A893FE-0153-48B5-A0B0-D09CE5430403}" type="sibTrans" cxnId="{D479ABDE-EDBA-46B3-99F9-DF21A141CAF5}">
      <dgm:prSet/>
      <dgm:spPr/>
      <dgm:t>
        <a:bodyPr/>
        <a:lstStyle/>
        <a:p>
          <a:endParaRPr lang="ru-UA"/>
        </a:p>
      </dgm:t>
    </dgm:pt>
    <dgm:pt modelId="{EE25DD75-2331-470A-A5D8-1E4D4A14464C}">
      <dgm:prSet phldrT="[Текст]" custT="1"/>
      <dgm:spPr/>
      <dgm:t>
        <a:bodyPr/>
        <a:lstStyle/>
        <a:p>
          <a:r>
            <a:rPr lang="uk-UA" sz="3200" b="0" i="0" noProof="1"/>
            <a:t>Відповідачем не надано суду жодних доказів направлення, вручення, оголошення тощо позивачу наказу № 121/ВД «Про припинення режиму простою».</a:t>
          </a:r>
        </a:p>
      </dgm:t>
    </dgm:pt>
    <dgm:pt modelId="{60B0ADA5-37F7-499C-8640-C406BEBA6687}" type="parTrans" cxnId="{BD586A67-4E82-4509-8D6E-4E12291FFE1D}">
      <dgm:prSet/>
      <dgm:spPr/>
      <dgm:t>
        <a:bodyPr/>
        <a:lstStyle/>
        <a:p>
          <a:endParaRPr lang="ru-UA"/>
        </a:p>
      </dgm:t>
    </dgm:pt>
    <dgm:pt modelId="{907DD31B-C5F9-4592-8F74-62761FB6A96D}" type="sibTrans" cxnId="{BD586A67-4E82-4509-8D6E-4E12291FFE1D}">
      <dgm:prSet/>
      <dgm:spPr/>
      <dgm:t>
        <a:bodyPr/>
        <a:lstStyle/>
        <a:p>
          <a:endParaRPr lang="ru-UA"/>
        </a:p>
      </dgm:t>
    </dgm:pt>
    <dgm:pt modelId="{B105F0D2-A60B-436A-BA65-BD1DA3A7F260}">
      <dgm:prSet phldrT="[Текст]" custT="1"/>
      <dgm:spPr/>
      <dgm:t>
        <a:bodyPr/>
        <a:lstStyle/>
        <a:p>
          <a:r>
            <a:rPr lang="uk-UA" sz="3200" b="0" i="0" noProof="1"/>
            <a:t>Звільнили за прогул</a:t>
          </a:r>
        </a:p>
      </dgm:t>
    </dgm:pt>
    <dgm:pt modelId="{9B598582-7D98-4296-AD2A-F3EAB5A7FD87}" type="parTrans" cxnId="{8A1D1CB5-830E-4F1E-99AB-F855AAE12BD9}">
      <dgm:prSet/>
      <dgm:spPr/>
      <dgm:t>
        <a:bodyPr/>
        <a:lstStyle/>
        <a:p>
          <a:endParaRPr lang="ru-UA"/>
        </a:p>
      </dgm:t>
    </dgm:pt>
    <dgm:pt modelId="{2F639D18-46B6-4E93-94CF-5FCF2FDDB842}" type="sibTrans" cxnId="{8A1D1CB5-830E-4F1E-99AB-F855AAE12BD9}">
      <dgm:prSet/>
      <dgm:spPr/>
      <dgm:t>
        <a:bodyPr/>
        <a:lstStyle/>
        <a:p>
          <a:endParaRPr lang="ru-UA"/>
        </a:p>
      </dgm:t>
    </dgm:pt>
    <dgm:pt modelId="{DC1747FD-EA5B-459F-BCA8-A4B901B6DCE8}" type="pres">
      <dgm:prSet presAssocID="{50A5FF14-6E91-44FA-A51B-1C31DF6FC79F}" presName="vert0" presStyleCnt="0">
        <dgm:presLayoutVars>
          <dgm:dir/>
          <dgm:animOne val="branch"/>
          <dgm:animLvl val="lvl"/>
        </dgm:presLayoutVars>
      </dgm:prSet>
      <dgm:spPr/>
      <dgm:t>
        <a:bodyPr/>
        <a:lstStyle/>
        <a:p>
          <a:endParaRPr lang="en-US"/>
        </a:p>
      </dgm:t>
    </dgm:pt>
    <dgm:pt modelId="{5CF985C4-2067-4047-BA7D-3E7421B6ADF5}" type="pres">
      <dgm:prSet presAssocID="{AA7F129A-39F8-4E37-A51A-8A89915D0C69}" presName="thickLine" presStyleLbl="alignNode1" presStyleIdx="0" presStyleCnt="1"/>
      <dgm:spPr/>
    </dgm:pt>
    <dgm:pt modelId="{D309DAB1-D711-4676-B0C9-9800CF1508A1}" type="pres">
      <dgm:prSet presAssocID="{AA7F129A-39F8-4E37-A51A-8A89915D0C69}" presName="horz1" presStyleCnt="0"/>
      <dgm:spPr/>
    </dgm:pt>
    <dgm:pt modelId="{44949010-F43F-4273-BF25-436505F95A4B}" type="pres">
      <dgm:prSet presAssocID="{AA7F129A-39F8-4E37-A51A-8A89915D0C69}" presName="tx1" presStyleLbl="revTx" presStyleIdx="0" presStyleCnt="5" custScaleX="57921"/>
      <dgm:spPr/>
      <dgm:t>
        <a:bodyPr/>
        <a:lstStyle/>
        <a:p>
          <a:endParaRPr lang="en-US"/>
        </a:p>
      </dgm:t>
    </dgm:pt>
    <dgm:pt modelId="{75D8827E-E612-4E90-9865-159664BEB206}" type="pres">
      <dgm:prSet presAssocID="{AA7F129A-39F8-4E37-A51A-8A89915D0C69}" presName="vert1" presStyleCnt="0"/>
      <dgm:spPr/>
    </dgm:pt>
    <dgm:pt modelId="{4ADF22E8-3100-462E-BD11-86CD665F8D0C}" type="pres">
      <dgm:prSet presAssocID="{8DAEB9DC-3CB1-4F23-B2DB-CA985410F4C2}" presName="vertSpace2a" presStyleCnt="0"/>
      <dgm:spPr/>
    </dgm:pt>
    <dgm:pt modelId="{E89453A4-B185-47D3-849E-E9CABF201404}" type="pres">
      <dgm:prSet presAssocID="{8DAEB9DC-3CB1-4F23-B2DB-CA985410F4C2}" presName="horz2" presStyleCnt="0"/>
      <dgm:spPr/>
    </dgm:pt>
    <dgm:pt modelId="{464B60E8-6366-42D9-A004-6BC91C48E882}" type="pres">
      <dgm:prSet presAssocID="{8DAEB9DC-3CB1-4F23-B2DB-CA985410F4C2}" presName="horzSpace2" presStyleCnt="0"/>
      <dgm:spPr/>
    </dgm:pt>
    <dgm:pt modelId="{84131AAB-2705-453B-9466-179E67A33C0A}" type="pres">
      <dgm:prSet presAssocID="{8DAEB9DC-3CB1-4F23-B2DB-CA985410F4C2}" presName="tx2" presStyleLbl="revTx" presStyleIdx="1" presStyleCnt="5"/>
      <dgm:spPr/>
      <dgm:t>
        <a:bodyPr/>
        <a:lstStyle/>
        <a:p>
          <a:endParaRPr lang="en-US"/>
        </a:p>
      </dgm:t>
    </dgm:pt>
    <dgm:pt modelId="{5AF543EF-8350-4780-A716-140E37046FB1}" type="pres">
      <dgm:prSet presAssocID="{8DAEB9DC-3CB1-4F23-B2DB-CA985410F4C2}" presName="vert2" presStyleCnt="0"/>
      <dgm:spPr/>
    </dgm:pt>
    <dgm:pt modelId="{81DB2667-891F-46F6-87CB-9D0638423E56}" type="pres">
      <dgm:prSet presAssocID="{8DAEB9DC-3CB1-4F23-B2DB-CA985410F4C2}" presName="thinLine2b" presStyleLbl="callout" presStyleIdx="0" presStyleCnt="4"/>
      <dgm:spPr/>
    </dgm:pt>
    <dgm:pt modelId="{E0DB8A00-2A7A-4B90-AC2F-B1E0849E1DBE}" type="pres">
      <dgm:prSet presAssocID="{8DAEB9DC-3CB1-4F23-B2DB-CA985410F4C2}" presName="vertSpace2b" presStyleCnt="0"/>
      <dgm:spPr/>
    </dgm:pt>
    <dgm:pt modelId="{C53C17A6-55AC-4EAA-9EA1-D63E2AAA0025}" type="pres">
      <dgm:prSet presAssocID="{B2A23F94-A4EC-4C97-BB35-F92B83B780A0}" presName="horz2" presStyleCnt="0"/>
      <dgm:spPr/>
    </dgm:pt>
    <dgm:pt modelId="{B4DE0A4A-DE8D-4CA4-A73D-F4986CE47A4E}" type="pres">
      <dgm:prSet presAssocID="{B2A23F94-A4EC-4C97-BB35-F92B83B780A0}" presName="horzSpace2" presStyleCnt="0"/>
      <dgm:spPr/>
    </dgm:pt>
    <dgm:pt modelId="{5B07DF82-DC38-4B52-A931-DAA4389F017B}" type="pres">
      <dgm:prSet presAssocID="{B2A23F94-A4EC-4C97-BB35-F92B83B780A0}" presName="tx2" presStyleLbl="revTx" presStyleIdx="2" presStyleCnt="5"/>
      <dgm:spPr/>
      <dgm:t>
        <a:bodyPr/>
        <a:lstStyle/>
        <a:p>
          <a:endParaRPr lang="en-US"/>
        </a:p>
      </dgm:t>
    </dgm:pt>
    <dgm:pt modelId="{10DDAC69-CCBF-4A78-814D-67B72EC11F79}" type="pres">
      <dgm:prSet presAssocID="{B2A23F94-A4EC-4C97-BB35-F92B83B780A0}" presName="vert2" presStyleCnt="0"/>
      <dgm:spPr/>
    </dgm:pt>
    <dgm:pt modelId="{6B27170D-1061-408B-8B34-5CBCA78B88AB}" type="pres">
      <dgm:prSet presAssocID="{B2A23F94-A4EC-4C97-BB35-F92B83B780A0}" presName="thinLine2b" presStyleLbl="callout" presStyleIdx="1" presStyleCnt="4"/>
      <dgm:spPr/>
    </dgm:pt>
    <dgm:pt modelId="{279E605E-E053-4D98-A68A-BD230BE9CCD2}" type="pres">
      <dgm:prSet presAssocID="{B2A23F94-A4EC-4C97-BB35-F92B83B780A0}" presName="vertSpace2b" presStyleCnt="0"/>
      <dgm:spPr/>
    </dgm:pt>
    <dgm:pt modelId="{42B769F7-53BB-4A6C-B4EF-7114EBB42CC1}" type="pres">
      <dgm:prSet presAssocID="{EE25DD75-2331-470A-A5D8-1E4D4A14464C}" presName="horz2" presStyleCnt="0"/>
      <dgm:spPr/>
    </dgm:pt>
    <dgm:pt modelId="{32AD3767-4462-46DD-99A9-02016157831D}" type="pres">
      <dgm:prSet presAssocID="{EE25DD75-2331-470A-A5D8-1E4D4A14464C}" presName="horzSpace2" presStyleCnt="0"/>
      <dgm:spPr/>
    </dgm:pt>
    <dgm:pt modelId="{2B469E29-8BDC-4B1D-B3D2-557483EA1DA7}" type="pres">
      <dgm:prSet presAssocID="{EE25DD75-2331-470A-A5D8-1E4D4A14464C}" presName="tx2" presStyleLbl="revTx" presStyleIdx="3" presStyleCnt="5"/>
      <dgm:spPr/>
      <dgm:t>
        <a:bodyPr/>
        <a:lstStyle/>
        <a:p>
          <a:endParaRPr lang="en-US"/>
        </a:p>
      </dgm:t>
    </dgm:pt>
    <dgm:pt modelId="{C4CAD0DC-2D5F-4249-841B-00F103E73713}" type="pres">
      <dgm:prSet presAssocID="{EE25DD75-2331-470A-A5D8-1E4D4A14464C}" presName="vert2" presStyleCnt="0"/>
      <dgm:spPr/>
    </dgm:pt>
    <dgm:pt modelId="{9F402C8B-EC4C-464A-A233-3B007B6933B7}" type="pres">
      <dgm:prSet presAssocID="{EE25DD75-2331-470A-A5D8-1E4D4A14464C}" presName="thinLine2b" presStyleLbl="callout" presStyleIdx="2" presStyleCnt="4"/>
      <dgm:spPr/>
    </dgm:pt>
    <dgm:pt modelId="{754585FE-0F48-4D39-91A6-C9D5BB28974E}" type="pres">
      <dgm:prSet presAssocID="{EE25DD75-2331-470A-A5D8-1E4D4A14464C}" presName="vertSpace2b" presStyleCnt="0"/>
      <dgm:spPr/>
    </dgm:pt>
    <dgm:pt modelId="{D80EF6A1-B192-491D-A269-3DA8F17951C8}" type="pres">
      <dgm:prSet presAssocID="{B105F0D2-A60B-436A-BA65-BD1DA3A7F260}" presName="horz2" presStyleCnt="0"/>
      <dgm:spPr/>
    </dgm:pt>
    <dgm:pt modelId="{365D2A4A-894F-4F71-9C56-A3757A223693}" type="pres">
      <dgm:prSet presAssocID="{B105F0D2-A60B-436A-BA65-BD1DA3A7F260}" presName="horzSpace2" presStyleCnt="0"/>
      <dgm:spPr/>
    </dgm:pt>
    <dgm:pt modelId="{E30E4798-DC49-416B-A46B-4EBC164447B9}" type="pres">
      <dgm:prSet presAssocID="{B105F0D2-A60B-436A-BA65-BD1DA3A7F260}" presName="tx2" presStyleLbl="revTx" presStyleIdx="4" presStyleCnt="5"/>
      <dgm:spPr/>
      <dgm:t>
        <a:bodyPr/>
        <a:lstStyle/>
        <a:p>
          <a:endParaRPr lang="en-US"/>
        </a:p>
      </dgm:t>
    </dgm:pt>
    <dgm:pt modelId="{98E84556-99BC-4683-87EE-5DB96EAE4430}" type="pres">
      <dgm:prSet presAssocID="{B105F0D2-A60B-436A-BA65-BD1DA3A7F260}" presName="vert2" presStyleCnt="0"/>
      <dgm:spPr/>
    </dgm:pt>
    <dgm:pt modelId="{0ED91751-EE00-49F4-9E49-97E96AD83DA8}" type="pres">
      <dgm:prSet presAssocID="{B105F0D2-A60B-436A-BA65-BD1DA3A7F260}" presName="thinLine2b" presStyleLbl="callout" presStyleIdx="3" presStyleCnt="4"/>
      <dgm:spPr/>
    </dgm:pt>
    <dgm:pt modelId="{A6F97801-1BD2-45DE-9181-1FEE902A688F}" type="pres">
      <dgm:prSet presAssocID="{B105F0D2-A60B-436A-BA65-BD1DA3A7F260}" presName="vertSpace2b" presStyleCnt="0"/>
      <dgm:spPr/>
    </dgm:pt>
  </dgm:ptLst>
  <dgm:cxnLst>
    <dgm:cxn modelId="{B92730E8-BBA6-4CC4-9228-702B64AABD1D}" type="presOf" srcId="{AA7F129A-39F8-4E37-A51A-8A89915D0C69}" destId="{44949010-F43F-4273-BF25-436505F95A4B}" srcOrd="0" destOrd="0" presId="urn:microsoft.com/office/officeart/2008/layout/LinedList"/>
    <dgm:cxn modelId="{0D03DDB4-6575-47F9-AE6A-C6E9F789A458}" type="presOf" srcId="{8DAEB9DC-3CB1-4F23-B2DB-CA985410F4C2}" destId="{84131AAB-2705-453B-9466-179E67A33C0A}" srcOrd="0" destOrd="0" presId="urn:microsoft.com/office/officeart/2008/layout/LinedList"/>
    <dgm:cxn modelId="{5BD7F51D-51B0-491D-9A7E-62E915CB135A}" type="presOf" srcId="{B2A23F94-A4EC-4C97-BB35-F92B83B780A0}" destId="{5B07DF82-DC38-4B52-A931-DAA4389F017B}" srcOrd="0" destOrd="0" presId="urn:microsoft.com/office/officeart/2008/layout/LinedList"/>
    <dgm:cxn modelId="{5BA611B6-34FF-442F-9A51-224F6C39B87D}" type="presOf" srcId="{EE25DD75-2331-470A-A5D8-1E4D4A14464C}" destId="{2B469E29-8BDC-4B1D-B3D2-557483EA1DA7}" srcOrd="0" destOrd="0" presId="urn:microsoft.com/office/officeart/2008/layout/LinedList"/>
    <dgm:cxn modelId="{CDA2D0D8-F605-4EA0-B12C-74EB4870C248}" srcId="{AA7F129A-39F8-4E37-A51A-8A89915D0C69}" destId="{8DAEB9DC-3CB1-4F23-B2DB-CA985410F4C2}" srcOrd="0" destOrd="0" parTransId="{94297B8E-4E83-4E2C-881D-C820F5DD3E9A}" sibTransId="{E61B12C0-DD26-4203-838C-DC3BBEAF4A3F}"/>
    <dgm:cxn modelId="{8A1D1CB5-830E-4F1E-99AB-F855AAE12BD9}" srcId="{AA7F129A-39F8-4E37-A51A-8A89915D0C69}" destId="{B105F0D2-A60B-436A-BA65-BD1DA3A7F260}" srcOrd="3" destOrd="0" parTransId="{9B598582-7D98-4296-AD2A-F3EAB5A7FD87}" sibTransId="{2F639D18-46B6-4E93-94CF-5FCF2FDDB842}"/>
    <dgm:cxn modelId="{0E8C992E-7BCF-4AF3-B86C-BD429208E5B3}" type="presOf" srcId="{50A5FF14-6E91-44FA-A51B-1C31DF6FC79F}" destId="{DC1747FD-EA5B-459F-BCA8-A4B901B6DCE8}" srcOrd="0" destOrd="0" presId="urn:microsoft.com/office/officeart/2008/layout/LinedList"/>
    <dgm:cxn modelId="{6E728AAB-2541-4BCF-8C26-FE8AE8A37FD4}" type="presOf" srcId="{B105F0D2-A60B-436A-BA65-BD1DA3A7F260}" destId="{E30E4798-DC49-416B-A46B-4EBC164447B9}" srcOrd="0" destOrd="0" presId="urn:microsoft.com/office/officeart/2008/layout/LinedList"/>
    <dgm:cxn modelId="{BD586A67-4E82-4509-8D6E-4E12291FFE1D}" srcId="{AA7F129A-39F8-4E37-A51A-8A89915D0C69}" destId="{EE25DD75-2331-470A-A5D8-1E4D4A14464C}" srcOrd="2" destOrd="0" parTransId="{60B0ADA5-37F7-499C-8640-C406BEBA6687}" sibTransId="{907DD31B-C5F9-4592-8F74-62761FB6A96D}"/>
    <dgm:cxn modelId="{E76A9518-2FAE-46BA-9C12-6E06DACB0B5D}" srcId="{50A5FF14-6E91-44FA-A51B-1C31DF6FC79F}" destId="{AA7F129A-39F8-4E37-A51A-8A89915D0C69}" srcOrd="0" destOrd="0" parTransId="{63BF66A6-09F3-4527-88E3-6381FFBE5AD5}" sibTransId="{BA214040-64A2-4A16-B651-4D733AFFE4C6}"/>
    <dgm:cxn modelId="{D479ABDE-EDBA-46B3-99F9-DF21A141CAF5}" srcId="{AA7F129A-39F8-4E37-A51A-8A89915D0C69}" destId="{B2A23F94-A4EC-4C97-BB35-F92B83B780A0}" srcOrd="1" destOrd="0" parTransId="{8F6F6E59-92AB-479B-BB5F-0F775359712A}" sibTransId="{41A893FE-0153-48B5-A0B0-D09CE5430403}"/>
    <dgm:cxn modelId="{64F70EA9-E0D5-417D-864C-31486F6A85AD}" type="presParOf" srcId="{DC1747FD-EA5B-459F-BCA8-A4B901B6DCE8}" destId="{5CF985C4-2067-4047-BA7D-3E7421B6ADF5}" srcOrd="0" destOrd="0" presId="urn:microsoft.com/office/officeart/2008/layout/LinedList"/>
    <dgm:cxn modelId="{C1B7A34D-530E-47A7-91D7-C800FA9815BF}" type="presParOf" srcId="{DC1747FD-EA5B-459F-BCA8-A4B901B6DCE8}" destId="{D309DAB1-D711-4676-B0C9-9800CF1508A1}" srcOrd="1" destOrd="0" presId="urn:microsoft.com/office/officeart/2008/layout/LinedList"/>
    <dgm:cxn modelId="{2C78FD2D-37D7-4369-91FA-1F840741056F}" type="presParOf" srcId="{D309DAB1-D711-4676-B0C9-9800CF1508A1}" destId="{44949010-F43F-4273-BF25-436505F95A4B}" srcOrd="0" destOrd="0" presId="urn:microsoft.com/office/officeart/2008/layout/LinedList"/>
    <dgm:cxn modelId="{B99417BA-4126-4209-9BEC-18AAB49DC406}" type="presParOf" srcId="{D309DAB1-D711-4676-B0C9-9800CF1508A1}" destId="{75D8827E-E612-4E90-9865-159664BEB206}" srcOrd="1" destOrd="0" presId="urn:microsoft.com/office/officeart/2008/layout/LinedList"/>
    <dgm:cxn modelId="{E02007E7-E1DF-4274-8FE0-6FB3C3A66081}" type="presParOf" srcId="{75D8827E-E612-4E90-9865-159664BEB206}" destId="{4ADF22E8-3100-462E-BD11-86CD665F8D0C}" srcOrd="0" destOrd="0" presId="urn:microsoft.com/office/officeart/2008/layout/LinedList"/>
    <dgm:cxn modelId="{DA0B616F-AE33-46D9-87A4-66944C690BC5}" type="presParOf" srcId="{75D8827E-E612-4E90-9865-159664BEB206}" destId="{E89453A4-B185-47D3-849E-E9CABF201404}" srcOrd="1" destOrd="0" presId="urn:microsoft.com/office/officeart/2008/layout/LinedList"/>
    <dgm:cxn modelId="{F54ADEE6-4C35-4068-B457-06954853783E}" type="presParOf" srcId="{E89453A4-B185-47D3-849E-E9CABF201404}" destId="{464B60E8-6366-42D9-A004-6BC91C48E882}" srcOrd="0" destOrd="0" presId="urn:microsoft.com/office/officeart/2008/layout/LinedList"/>
    <dgm:cxn modelId="{6FF1E083-4F64-4626-A4A1-D1744CE7C88C}" type="presParOf" srcId="{E89453A4-B185-47D3-849E-E9CABF201404}" destId="{84131AAB-2705-453B-9466-179E67A33C0A}" srcOrd="1" destOrd="0" presId="urn:microsoft.com/office/officeart/2008/layout/LinedList"/>
    <dgm:cxn modelId="{15E72954-81A2-41BE-9622-44DB2C7E3C38}" type="presParOf" srcId="{E89453A4-B185-47D3-849E-E9CABF201404}" destId="{5AF543EF-8350-4780-A716-140E37046FB1}" srcOrd="2" destOrd="0" presId="urn:microsoft.com/office/officeart/2008/layout/LinedList"/>
    <dgm:cxn modelId="{8CFAE725-CB2D-458A-BE93-2C98F9523048}" type="presParOf" srcId="{75D8827E-E612-4E90-9865-159664BEB206}" destId="{81DB2667-891F-46F6-87CB-9D0638423E56}" srcOrd="2" destOrd="0" presId="urn:microsoft.com/office/officeart/2008/layout/LinedList"/>
    <dgm:cxn modelId="{2B16B153-A7AB-4CBE-A623-3431AB9DF3CA}" type="presParOf" srcId="{75D8827E-E612-4E90-9865-159664BEB206}" destId="{E0DB8A00-2A7A-4B90-AC2F-B1E0849E1DBE}" srcOrd="3" destOrd="0" presId="urn:microsoft.com/office/officeart/2008/layout/LinedList"/>
    <dgm:cxn modelId="{48B75B82-327E-4C6A-B2A3-5E0777A35954}" type="presParOf" srcId="{75D8827E-E612-4E90-9865-159664BEB206}" destId="{C53C17A6-55AC-4EAA-9EA1-D63E2AAA0025}" srcOrd="4" destOrd="0" presId="urn:microsoft.com/office/officeart/2008/layout/LinedList"/>
    <dgm:cxn modelId="{9D2F8B5F-B814-460B-BD60-72E82C5EDD87}" type="presParOf" srcId="{C53C17A6-55AC-4EAA-9EA1-D63E2AAA0025}" destId="{B4DE0A4A-DE8D-4CA4-A73D-F4986CE47A4E}" srcOrd="0" destOrd="0" presId="urn:microsoft.com/office/officeart/2008/layout/LinedList"/>
    <dgm:cxn modelId="{198CF2CA-7868-4B1A-9C79-7FC025D662C3}" type="presParOf" srcId="{C53C17A6-55AC-4EAA-9EA1-D63E2AAA0025}" destId="{5B07DF82-DC38-4B52-A931-DAA4389F017B}" srcOrd="1" destOrd="0" presId="urn:microsoft.com/office/officeart/2008/layout/LinedList"/>
    <dgm:cxn modelId="{6FC61405-67FA-4EB3-B020-C7F0F8C81DE1}" type="presParOf" srcId="{C53C17A6-55AC-4EAA-9EA1-D63E2AAA0025}" destId="{10DDAC69-CCBF-4A78-814D-67B72EC11F79}" srcOrd="2" destOrd="0" presId="urn:microsoft.com/office/officeart/2008/layout/LinedList"/>
    <dgm:cxn modelId="{C326CF11-ACBF-4EDD-A856-014AE45B9E42}" type="presParOf" srcId="{75D8827E-E612-4E90-9865-159664BEB206}" destId="{6B27170D-1061-408B-8B34-5CBCA78B88AB}" srcOrd="5" destOrd="0" presId="urn:microsoft.com/office/officeart/2008/layout/LinedList"/>
    <dgm:cxn modelId="{DB6FC8BB-5A6D-4145-9947-950247A607E6}" type="presParOf" srcId="{75D8827E-E612-4E90-9865-159664BEB206}" destId="{279E605E-E053-4D98-A68A-BD230BE9CCD2}" srcOrd="6" destOrd="0" presId="urn:microsoft.com/office/officeart/2008/layout/LinedList"/>
    <dgm:cxn modelId="{FC031EDE-45DA-461A-ABF3-19E8A1A1BFCD}" type="presParOf" srcId="{75D8827E-E612-4E90-9865-159664BEB206}" destId="{42B769F7-53BB-4A6C-B4EF-7114EBB42CC1}" srcOrd="7" destOrd="0" presId="urn:microsoft.com/office/officeart/2008/layout/LinedList"/>
    <dgm:cxn modelId="{B352D533-DC51-4A7C-A762-F413CC3FD30D}" type="presParOf" srcId="{42B769F7-53BB-4A6C-B4EF-7114EBB42CC1}" destId="{32AD3767-4462-46DD-99A9-02016157831D}" srcOrd="0" destOrd="0" presId="urn:microsoft.com/office/officeart/2008/layout/LinedList"/>
    <dgm:cxn modelId="{C3F868EC-6490-4120-B783-41C253C034D3}" type="presParOf" srcId="{42B769F7-53BB-4A6C-B4EF-7114EBB42CC1}" destId="{2B469E29-8BDC-4B1D-B3D2-557483EA1DA7}" srcOrd="1" destOrd="0" presId="urn:microsoft.com/office/officeart/2008/layout/LinedList"/>
    <dgm:cxn modelId="{2F8C0CCF-55FE-4CCA-87CA-E86513735236}" type="presParOf" srcId="{42B769F7-53BB-4A6C-B4EF-7114EBB42CC1}" destId="{C4CAD0DC-2D5F-4249-841B-00F103E73713}" srcOrd="2" destOrd="0" presId="urn:microsoft.com/office/officeart/2008/layout/LinedList"/>
    <dgm:cxn modelId="{C97CE1A6-3E5F-4BA4-8849-9E4D3EDD0080}" type="presParOf" srcId="{75D8827E-E612-4E90-9865-159664BEB206}" destId="{9F402C8B-EC4C-464A-A233-3B007B6933B7}" srcOrd="8" destOrd="0" presId="urn:microsoft.com/office/officeart/2008/layout/LinedList"/>
    <dgm:cxn modelId="{725B4CB4-4AB7-4D7E-893E-CD173C353510}" type="presParOf" srcId="{75D8827E-E612-4E90-9865-159664BEB206}" destId="{754585FE-0F48-4D39-91A6-C9D5BB28974E}" srcOrd="9" destOrd="0" presId="urn:microsoft.com/office/officeart/2008/layout/LinedList"/>
    <dgm:cxn modelId="{66A78104-E618-4E09-8450-6C5689F61FF0}" type="presParOf" srcId="{75D8827E-E612-4E90-9865-159664BEB206}" destId="{D80EF6A1-B192-491D-A269-3DA8F17951C8}" srcOrd="10" destOrd="0" presId="urn:microsoft.com/office/officeart/2008/layout/LinedList"/>
    <dgm:cxn modelId="{6B4906E5-A722-4E29-990F-3D5A572E79EA}" type="presParOf" srcId="{D80EF6A1-B192-491D-A269-3DA8F17951C8}" destId="{365D2A4A-894F-4F71-9C56-A3757A223693}" srcOrd="0" destOrd="0" presId="urn:microsoft.com/office/officeart/2008/layout/LinedList"/>
    <dgm:cxn modelId="{5CFB6612-F597-4855-8E0F-E860F7633AEA}" type="presParOf" srcId="{D80EF6A1-B192-491D-A269-3DA8F17951C8}" destId="{E30E4798-DC49-416B-A46B-4EBC164447B9}" srcOrd="1" destOrd="0" presId="urn:microsoft.com/office/officeart/2008/layout/LinedList"/>
    <dgm:cxn modelId="{ACFB60A4-50C3-45CA-838F-A80A268EAF96}" type="presParOf" srcId="{D80EF6A1-B192-491D-A269-3DA8F17951C8}" destId="{98E84556-99BC-4683-87EE-5DB96EAE4430}" srcOrd="2" destOrd="0" presId="urn:microsoft.com/office/officeart/2008/layout/LinedList"/>
    <dgm:cxn modelId="{B9577E78-98FF-4B51-9667-CD35367E26CC}" type="presParOf" srcId="{75D8827E-E612-4E90-9865-159664BEB206}" destId="{0ED91751-EE00-49F4-9E49-97E96AD83DA8}" srcOrd="11" destOrd="0" presId="urn:microsoft.com/office/officeart/2008/layout/LinedList"/>
    <dgm:cxn modelId="{E2D17343-FF24-4EA6-A009-FA66EB544FFA}" type="presParOf" srcId="{75D8827E-E612-4E90-9865-159664BEB206}" destId="{A6F97801-1BD2-45DE-9181-1FEE902A688F}" srcOrd="12"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A0C0224A-C1E9-4653-8FE2-9A8836151C0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80060EA9-3D16-45FE-98D4-BB4B85EE8530}">
      <dgm:prSet phldrT="[Текст]" custT="1"/>
      <dgm:spPr/>
      <dgm:t>
        <a:bodyPr/>
        <a:lstStyle/>
        <a:p>
          <a:r>
            <a:rPr lang="uk-UA" sz="3600" b="0" i="0" noProof="0" dirty="0">
              <a:solidFill>
                <a:schemeClr val="tx1"/>
              </a:solidFill>
            </a:rPr>
            <a:t>Прогулом визнається відсутність працівника на роботі як протягом усього робочого дня, так і більше трьох годин безперервно або сумарно протягом робочого дня без поважних причин. </a:t>
          </a:r>
          <a:r>
            <a:rPr lang="uk-UA" sz="3600" b="0" i="0" noProof="0" dirty="0" err="1">
              <a:solidFill>
                <a:schemeClr val="tx1"/>
              </a:solidFill>
            </a:rPr>
            <a:t>Виначальним</a:t>
          </a:r>
          <a:r>
            <a:rPr lang="uk-UA" sz="3600" b="0" i="0" noProof="0" dirty="0">
              <a:solidFill>
                <a:schemeClr val="tx1"/>
              </a:solidFill>
            </a:rPr>
            <a:t> для вирішення питання законності звільнення з роботи за прогул є не тільки встановлення самого факту відсутності працівника на роботі більше трьох годин протягом робочого дня, а й встановлення поважності причин відсутності</a:t>
          </a:r>
          <a:endParaRPr lang="uk-UA" sz="3600" noProof="0" dirty="0">
            <a:solidFill>
              <a:schemeClr val="tx1"/>
            </a:solidFill>
          </a:endParaRPr>
        </a:p>
      </dgm:t>
    </dgm:pt>
    <dgm:pt modelId="{A4B3BCED-B76F-4BB0-9A5D-664C1A81DD09}" type="parTrans" cxnId="{648D65C7-4557-4B50-B0C4-CA5F81D8C5D7}">
      <dgm:prSet/>
      <dgm:spPr/>
      <dgm:t>
        <a:bodyPr/>
        <a:lstStyle/>
        <a:p>
          <a:endParaRPr lang="ru-UA"/>
        </a:p>
      </dgm:t>
    </dgm:pt>
    <dgm:pt modelId="{CDBA8231-51EE-4AC1-BAD5-3D5F004BA37C}" type="sibTrans" cxnId="{648D65C7-4557-4B50-B0C4-CA5F81D8C5D7}">
      <dgm:prSet/>
      <dgm:spPr/>
      <dgm:t>
        <a:bodyPr/>
        <a:lstStyle/>
        <a:p>
          <a:endParaRPr lang="ru-UA"/>
        </a:p>
      </dgm:t>
    </dgm:pt>
    <dgm:pt modelId="{8443DCA0-70AA-4184-883F-2C4E982138DC}">
      <dgm:prSet phldrT="[Текст]" custT="1"/>
      <dgm:spPr/>
      <dgm:t>
        <a:bodyPr/>
        <a:lstStyle/>
        <a:p>
          <a:r>
            <a:rPr lang="uk-UA" sz="3600" b="0" i="0" noProof="0" dirty="0"/>
            <a:t>Саме з`ясування поважності відсутності позивача на роботі є визначальним фактом для вирішення питання про законність звільнення позивача з роботи за п. 4 ч. 1 ст. 40 КЗпП.</a:t>
          </a:r>
          <a:endParaRPr lang="uk-UA" sz="3600" noProof="0" dirty="0"/>
        </a:p>
      </dgm:t>
    </dgm:pt>
    <dgm:pt modelId="{8B05BDA8-D225-460A-98A8-0D989B0A9272}" type="parTrans" cxnId="{D8DA762D-C157-433A-B8D4-CFC1616BC3B1}">
      <dgm:prSet/>
      <dgm:spPr/>
      <dgm:t>
        <a:bodyPr/>
        <a:lstStyle/>
        <a:p>
          <a:endParaRPr lang="ru-UA"/>
        </a:p>
      </dgm:t>
    </dgm:pt>
    <dgm:pt modelId="{D6791F52-43E5-4A16-820C-2DD1818B38FE}" type="sibTrans" cxnId="{D8DA762D-C157-433A-B8D4-CFC1616BC3B1}">
      <dgm:prSet/>
      <dgm:spPr/>
      <dgm:t>
        <a:bodyPr/>
        <a:lstStyle/>
        <a:p>
          <a:endParaRPr lang="ru-UA"/>
        </a:p>
      </dgm:t>
    </dgm:pt>
    <dgm:pt modelId="{D58A9573-D2B2-480F-9ACD-DEF46C9A50CC}">
      <dgm:prSet phldrT="[Текст]" custT="1"/>
      <dgm:spPr/>
      <dgm:t>
        <a:bodyPr/>
        <a:lstStyle/>
        <a:p>
          <a:r>
            <a:rPr lang="uk-UA" sz="3600" b="0" i="0" noProof="0" dirty="0">
              <a:solidFill>
                <a:schemeClr val="tx1"/>
              </a:solidFill>
            </a:rPr>
            <a:t>У трудових правовідносинах як працівник, так і роботодавець мають діяти добросовісно, не допускаючи дій, що вчиняються з наміром завдати шкоди іншій особі, а також зловживання правом в інших формах. Принцип добросовісності у трудовому праві характеризується прагненням суб`єктів належним чином, сумлінно здійснювати трудові права й виконувати обов`язки, передбачені трудовим законодавством та трудовим договором.</a:t>
          </a:r>
          <a:endParaRPr lang="uk-UA" sz="3600" b="1" noProof="0" dirty="0">
            <a:solidFill>
              <a:schemeClr val="tx1"/>
            </a:solidFill>
          </a:endParaRPr>
        </a:p>
      </dgm:t>
    </dgm:pt>
    <dgm:pt modelId="{D68A264C-465A-4C47-9C39-92463C872FC8}" type="parTrans" cxnId="{B4ABAF62-8B21-4EBD-BF0B-5700A1291B3D}">
      <dgm:prSet/>
      <dgm:spPr/>
      <dgm:t>
        <a:bodyPr/>
        <a:lstStyle/>
        <a:p>
          <a:endParaRPr lang="ru-UA"/>
        </a:p>
      </dgm:t>
    </dgm:pt>
    <dgm:pt modelId="{993F921A-96D9-43CA-AF83-E1E733EF2FE9}" type="sibTrans" cxnId="{B4ABAF62-8B21-4EBD-BF0B-5700A1291B3D}">
      <dgm:prSet/>
      <dgm:spPr/>
      <dgm:t>
        <a:bodyPr/>
        <a:lstStyle/>
        <a:p>
          <a:endParaRPr lang="ru-UA"/>
        </a:p>
      </dgm:t>
    </dgm:pt>
    <dgm:pt modelId="{8861803B-B188-4646-A940-4168F0577496}" type="pres">
      <dgm:prSet presAssocID="{A0C0224A-C1E9-4653-8FE2-9A8836151C02}" presName="linear" presStyleCnt="0">
        <dgm:presLayoutVars>
          <dgm:animLvl val="lvl"/>
          <dgm:resizeHandles val="exact"/>
        </dgm:presLayoutVars>
      </dgm:prSet>
      <dgm:spPr/>
      <dgm:t>
        <a:bodyPr/>
        <a:lstStyle/>
        <a:p>
          <a:endParaRPr lang="en-US"/>
        </a:p>
      </dgm:t>
    </dgm:pt>
    <dgm:pt modelId="{BA32CA74-C898-4810-8215-DDD291D3907C}" type="pres">
      <dgm:prSet presAssocID="{80060EA9-3D16-45FE-98D4-BB4B85EE8530}" presName="parentText" presStyleLbl="node1" presStyleIdx="0" presStyleCnt="2">
        <dgm:presLayoutVars>
          <dgm:chMax val="0"/>
          <dgm:bulletEnabled val="1"/>
        </dgm:presLayoutVars>
      </dgm:prSet>
      <dgm:spPr/>
      <dgm:t>
        <a:bodyPr/>
        <a:lstStyle/>
        <a:p>
          <a:endParaRPr lang="en-US"/>
        </a:p>
      </dgm:t>
    </dgm:pt>
    <dgm:pt modelId="{F2663DDB-AF79-4774-94A4-303448794070}" type="pres">
      <dgm:prSet presAssocID="{80060EA9-3D16-45FE-98D4-BB4B85EE8530}" presName="childText" presStyleLbl="revTx" presStyleIdx="0" presStyleCnt="1">
        <dgm:presLayoutVars>
          <dgm:bulletEnabled val="1"/>
        </dgm:presLayoutVars>
      </dgm:prSet>
      <dgm:spPr/>
      <dgm:t>
        <a:bodyPr/>
        <a:lstStyle/>
        <a:p>
          <a:endParaRPr lang="en-US"/>
        </a:p>
      </dgm:t>
    </dgm:pt>
    <dgm:pt modelId="{D69BF492-A030-4636-B7E7-C0086D7751C0}" type="pres">
      <dgm:prSet presAssocID="{D58A9573-D2B2-480F-9ACD-DEF46C9A50CC}" presName="parentText" presStyleLbl="node1" presStyleIdx="1" presStyleCnt="2">
        <dgm:presLayoutVars>
          <dgm:chMax val="0"/>
          <dgm:bulletEnabled val="1"/>
        </dgm:presLayoutVars>
      </dgm:prSet>
      <dgm:spPr/>
      <dgm:t>
        <a:bodyPr/>
        <a:lstStyle/>
        <a:p>
          <a:endParaRPr lang="en-US"/>
        </a:p>
      </dgm:t>
    </dgm:pt>
  </dgm:ptLst>
  <dgm:cxnLst>
    <dgm:cxn modelId="{D8DA762D-C157-433A-B8D4-CFC1616BC3B1}" srcId="{80060EA9-3D16-45FE-98D4-BB4B85EE8530}" destId="{8443DCA0-70AA-4184-883F-2C4E982138DC}" srcOrd="0" destOrd="0" parTransId="{8B05BDA8-D225-460A-98A8-0D989B0A9272}" sibTransId="{D6791F52-43E5-4A16-820C-2DD1818B38FE}"/>
    <dgm:cxn modelId="{8A5857A4-0C8D-41DE-A6B3-C0F1AE7A0429}" type="presOf" srcId="{8443DCA0-70AA-4184-883F-2C4E982138DC}" destId="{F2663DDB-AF79-4774-94A4-303448794070}" srcOrd="0" destOrd="0" presId="urn:microsoft.com/office/officeart/2005/8/layout/vList2"/>
    <dgm:cxn modelId="{1CEA8E63-08F9-410C-B9D5-11785AA619AF}" type="presOf" srcId="{A0C0224A-C1E9-4653-8FE2-9A8836151C02}" destId="{8861803B-B188-4646-A940-4168F0577496}" srcOrd="0" destOrd="0" presId="urn:microsoft.com/office/officeart/2005/8/layout/vList2"/>
    <dgm:cxn modelId="{709EF28B-602E-4B80-97EB-BBAB7567F642}" type="presOf" srcId="{D58A9573-D2B2-480F-9ACD-DEF46C9A50CC}" destId="{D69BF492-A030-4636-B7E7-C0086D7751C0}" srcOrd="0" destOrd="0" presId="urn:microsoft.com/office/officeart/2005/8/layout/vList2"/>
    <dgm:cxn modelId="{B4ABAF62-8B21-4EBD-BF0B-5700A1291B3D}" srcId="{A0C0224A-C1E9-4653-8FE2-9A8836151C02}" destId="{D58A9573-D2B2-480F-9ACD-DEF46C9A50CC}" srcOrd="1" destOrd="0" parTransId="{D68A264C-465A-4C47-9C39-92463C872FC8}" sibTransId="{993F921A-96D9-43CA-AF83-E1E733EF2FE9}"/>
    <dgm:cxn modelId="{648D65C7-4557-4B50-B0C4-CA5F81D8C5D7}" srcId="{A0C0224A-C1E9-4653-8FE2-9A8836151C02}" destId="{80060EA9-3D16-45FE-98D4-BB4B85EE8530}" srcOrd="0" destOrd="0" parTransId="{A4B3BCED-B76F-4BB0-9A5D-664C1A81DD09}" sibTransId="{CDBA8231-51EE-4AC1-BAD5-3D5F004BA37C}"/>
    <dgm:cxn modelId="{17BC3CDC-59C3-4886-A1FD-03672C8E201D}" type="presOf" srcId="{80060EA9-3D16-45FE-98D4-BB4B85EE8530}" destId="{BA32CA74-C898-4810-8215-DDD291D3907C}" srcOrd="0" destOrd="0" presId="urn:microsoft.com/office/officeart/2005/8/layout/vList2"/>
    <dgm:cxn modelId="{9AC7C7A2-CEC6-4484-ACDB-26866C05C99A}" type="presParOf" srcId="{8861803B-B188-4646-A940-4168F0577496}" destId="{BA32CA74-C898-4810-8215-DDD291D3907C}" srcOrd="0" destOrd="0" presId="urn:microsoft.com/office/officeart/2005/8/layout/vList2"/>
    <dgm:cxn modelId="{96F5E15F-86A9-44AF-A481-ADBA9194EA64}" type="presParOf" srcId="{8861803B-B188-4646-A940-4168F0577496}" destId="{F2663DDB-AF79-4774-94A4-303448794070}" srcOrd="1" destOrd="0" presId="urn:microsoft.com/office/officeart/2005/8/layout/vList2"/>
    <dgm:cxn modelId="{5F16C589-B235-46E1-B3BB-3AA779B4B456}" type="presParOf" srcId="{8861803B-B188-4646-A940-4168F0577496}" destId="{D69BF492-A030-4636-B7E7-C0086D7751C0}"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445C263F-915C-4719-B803-201518D9C584}"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ru-UA"/>
        </a:p>
      </dgm:t>
    </dgm:pt>
    <dgm:pt modelId="{9D6F1614-B7E3-4166-A033-BEE74A3ECDA3}">
      <dgm:prSet phldrT="[Текст]"/>
      <dgm:spPr/>
      <dgm:t>
        <a:bodyPr/>
        <a:lstStyle/>
        <a:p>
          <a:r>
            <a:rPr lang="uk-UA" noProof="0" dirty="0"/>
            <a:t>Позов задовольнити</a:t>
          </a:r>
        </a:p>
      </dgm:t>
    </dgm:pt>
    <dgm:pt modelId="{6AD0B29E-C478-46D5-9AB2-A64CC432B625}" type="parTrans" cxnId="{BC53F2DB-333E-451C-895A-67BCAD89A7A1}">
      <dgm:prSet/>
      <dgm:spPr/>
      <dgm:t>
        <a:bodyPr/>
        <a:lstStyle/>
        <a:p>
          <a:endParaRPr lang="ru-UA"/>
        </a:p>
      </dgm:t>
    </dgm:pt>
    <dgm:pt modelId="{A1F976C2-2487-4E6C-9935-B5ECB5A13F21}" type="sibTrans" cxnId="{BC53F2DB-333E-451C-895A-67BCAD89A7A1}">
      <dgm:prSet/>
      <dgm:spPr/>
      <dgm:t>
        <a:bodyPr/>
        <a:lstStyle/>
        <a:p>
          <a:endParaRPr lang="ru-UA"/>
        </a:p>
      </dgm:t>
    </dgm:pt>
    <dgm:pt modelId="{E91835FD-D3ED-42E9-BE54-C91A40EB21C8}">
      <dgm:prSet phldrT="[Текст]"/>
      <dgm:spPr/>
      <dgm:t>
        <a:bodyPr/>
        <a:lstStyle/>
        <a:p>
          <a:r>
            <a:rPr lang="uk-UA" b="0" i="0" noProof="0" dirty="0"/>
            <a:t>Наказ визнати незаконним та скасувати</a:t>
          </a:r>
          <a:endParaRPr lang="uk-UA" noProof="0" dirty="0"/>
        </a:p>
      </dgm:t>
    </dgm:pt>
    <dgm:pt modelId="{199E5DEE-4201-4FED-B1BE-DCF774AF1640}" type="parTrans" cxnId="{E744E643-FEC7-4C9B-A757-BAE2D7F8B1DC}">
      <dgm:prSet/>
      <dgm:spPr/>
      <dgm:t>
        <a:bodyPr/>
        <a:lstStyle/>
        <a:p>
          <a:endParaRPr lang="ru-UA"/>
        </a:p>
      </dgm:t>
    </dgm:pt>
    <dgm:pt modelId="{CB1EC49B-70CC-4723-A72D-678F14872D98}" type="sibTrans" cxnId="{E744E643-FEC7-4C9B-A757-BAE2D7F8B1DC}">
      <dgm:prSet/>
      <dgm:spPr/>
      <dgm:t>
        <a:bodyPr/>
        <a:lstStyle/>
        <a:p>
          <a:endParaRPr lang="ru-UA"/>
        </a:p>
      </dgm:t>
    </dgm:pt>
    <dgm:pt modelId="{AF99E733-C2C0-44F6-9933-485793069EED}">
      <dgm:prSet phldrT="[Текст]"/>
      <dgm:spPr/>
      <dgm:t>
        <a:bodyPr/>
        <a:lstStyle/>
        <a:p>
          <a:r>
            <a:rPr lang="uk-UA" noProof="0" dirty="0"/>
            <a:t>Поновити на роботі</a:t>
          </a:r>
        </a:p>
      </dgm:t>
    </dgm:pt>
    <dgm:pt modelId="{E0110A8F-B510-46A1-B465-BEBFE84502C2}" type="parTrans" cxnId="{45F334CB-917D-47FC-BD29-4DF0FE8D84DE}">
      <dgm:prSet/>
      <dgm:spPr/>
      <dgm:t>
        <a:bodyPr/>
        <a:lstStyle/>
        <a:p>
          <a:endParaRPr lang="ru-UA"/>
        </a:p>
      </dgm:t>
    </dgm:pt>
    <dgm:pt modelId="{F32980C5-2E7F-45BC-8BE6-6E6F0ADE68BF}" type="sibTrans" cxnId="{45F334CB-917D-47FC-BD29-4DF0FE8D84DE}">
      <dgm:prSet/>
      <dgm:spPr/>
      <dgm:t>
        <a:bodyPr/>
        <a:lstStyle/>
        <a:p>
          <a:endParaRPr lang="ru-UA"/>
        </a:p>
      </dgm:t>
    </dgm:pt>
    <dgm:pt modelId="{A6A8704E-B32B-474B-95BB-3DD26548CBFF}">
      <dgm:prSet phldrT="[Текст]"/>
      <dgm:spPr/>
      <dgm:t>
        <a:bodyPr/>
        <a:lstStyle/>
        <a:p>
          <a:r>
            <a:rPr lang="uk-UA" noProof="1"/>
            <a:t>Стягнути </a:t>
          </a:r>
          <a:r>
            <a:rPr lang="uk-UA" b="0" i="0" noProof="1"/>
            <a:t>середній заробіток за час вимушеного прогулу за період з 29 березня 2022 року по 27 червня 2022 року у розмірі 192483</a:t>
          </a:r>
          <a:endParaRPr lang="uk-UA" noProof="1"/>
        </a:p>
        <a:p>
          <a:endParaRPr lang="uk-UA" noProof="0" dirty="0"/>
        </a:p>
      </dgm:t>
    </dgm:pt>
    <dgm:pt modelId="{AD29CCAA-0A4B-47F1-883D-D644A72000A0}" type="parTrans" cxnId="{BA2358F2-6146-4918-AEEC-D2A6E1A134F1}">
      <dgm:prSet/>
      <dgm:spPr/>
      <dgm:t>
        <a:bodyPr/>
        <a:lstStyle/>
        <a:p>
          <a:endParaRPr lang="ru-UA"/>
        </a:p>
      </dgm:t>
    </dgm:pt>
    <dgm:pt modelId="{8C334C82-1D06-486F-96A5-1B3E4D43A274}" type="sibTrans" cxnId="{BA2358F2-6146-4918-AEEC-D2A6E1A134F1}">
      <dgm:prSet/>
      <dgm:spPr/>
      <dgm:t>
        <a:bodyPr/>
        <a:lstStyle/>
        <a:p>
          <a:endParaRPr lang="ru-UA"/>
        </a:p>
      </dgm:t>
    </dgm:pt>
    <dgm:pt modelId="{2AE84C96-F1CC-47F6-8A80-263DF5C071D6}" type="pres">
      <dgm:prSet presAssocID="{445C263F-915C-4719-B803-201518D9C584}" presName="rootnode" presStyleCnt="0">
        <dgm:presLayoutVars>
          <dgm:chMax/>
          <dgm:chPref/>
          <dgm:dir/>
          <dgm:animLvl val="lvl"/>
        </dgm:presLayoutVars>
      </dgm:prSet>
      <dgm:spPr/>
      <dgm:t>
        <a:bodyPr/>
        <a:lstStyle/>
        <a:p>
          <a:endParaRPr lang="en-US"/>
        </a:p>
      </dgm:t>
    </dgm:pt>
    <dgm:pt modelId="{027F436E-F60E-4FEB-A238-9BBAAAA1871E}" type="pres">
      <dgm:prSet presAssocID="{9D6F1614-B7E3-4166-A033-BEE74A3ECDA3}" presName="composite" presStyleCnt="0"/>
      <dgm:spPr/>
    </dgm:pt>
    <dgm:pt modelId="{6E862C84-9419-4108-8F83-43E4E180EB19}" type="pres">
      <dgm:prSet presAssocID="{9D6F1614-B7E3-4166-A033-BEE74A3ECDA3}" presName="LShape" presStyleLbl="alignNode1" presStyleIdx="0" presStyleCnt="7"/>
      <dgm:spPr/>
    </dgm:pt>
    <dgm:pt modelId="{00E99759-AF57-4683-B740-A753C1B8EA17}" type="pres">
      <dgm:prSet presAssocID="{9D6F1614-B7E3-4166-A033-BEE74A3ECDA3}" presName="ParentText" presStyleLbl="revTx" presStyleIdx="0" presStyleCnt="4">
        <dgm:presLayoutVars>
          <dgm:chMax val="0"/>
          <dgm:chPref val="0"/>
          <dgm:bulletEnabled val="1"/>
        </dgm:presLayoutVars>
      </dgm:prSet>
      <dgm:spPr/>
      <dgm:t>
        <a:bodyPr/>
        <a:lstStyle/>
        <a:p>
          <a:endParaRPr lang="en-US"/>
        </a:p>
      </dgm:t>
    </dgm:pt>
    <dgm:pt modelId="{3170F351-4ECA-4C62-8C1C-6DC424325CA9}" type="pres">
      <dgm:prSet presAssocID="{9D6F1614-B7E3-4166-A033-BEE74A3ECDA3}" presName="Triangle" presStyleLbl="alignNode1" presStyleIdx="1" presStyleCnt="7"/>
      <dgm:spPr/>
    </dgm:pt>
    <dgm:pt modelId="{E5FC8E56-EFFC-456D-9C9E-C0FC1B53B63A}" type="pres">
      <dgm:prSet presAssocID="{A1F976C2-2487-4E6C-9935-B5ECB5A13F21}" presName="sibTrans" presStyleCnt="0"/>
      <dgm:spPr/>
    </dgm:pt>
    <dgm:pt modelId="{63ABC58D-7BDA-4C34-91A2-FFADBBB3F8CD}" type="pres">
      <dgm:prSet presAssocID="{A1F976C2-2487-4E6C-9935-B5ECB5A13F21}" presName="space" presStyleCnt="0"/>
      <dgm:spPr/>
    </dgm:pt>
    <dgm:pt modelId="{87E3E891-1530-40E9-85A6-21F0F55998F2}" type="pres">
      <dgm:prSet presAssocID="{E91835FD-D3ED-42E9-BE54-C91A40EB21C8}" presName="composite" presStyleCnt="0"/>
      <dgm:spPr/>
    </dgm:pt>
    <dgm:pt modelId="{94899ABB-372C-4850-B66A-257AF7B09E4D}" type="pres">
      <dgm:prSet presAssocID="{E91835FD-D3ED-42E9-BE54-C91A40EB21C8}" presName="LShape" presStyleLbl="alignNode1" presStyleIdx="2" presStyleCnt="7"/>
      <dgm:spPr/>
    </dgm:pt>
    <dgm:pt modelId="{031FC2F4-DF6A-4C7E-8BF8-D05818EF8FE7}" type="pres">
      <dgm:prSet presAssocID="{E91835FD-D3ED-42E9-BE54-C91A40EB21C8}" presName="ParentText" presStyleLbl="revTx" presStyleIdx="1" presStyleCnt="4">
        <dgm:presLayoutVars>
          <dgm:chMax val="0"/>
          <dgm:chPref val="0"/>
          <dgm:bulletEnabled val="1"/>
        </dgm:presLayoutVars>
      </dgm:prSet>
      <dgm:spPr/>
      <dgm:t>
        <a:bodyPr/>
        <a:lstStyle/>
        <a:p>
          <a:endParaRPr lang="en-US"/>
        </a:p>
      </dgm:t>
    </dgm:pt>
    <dgm:pt modelId="{D15437D2-EEDE-49CE-B4D3-D29CFC20E53A}" type="pres">
      <dgm:prSet presAssocID="{E91835FD-D3ED-42E9-BE54-C91A40EB21C8}" presName="Triangle" presStyleLbl="alignNode1" presStyleIdx="3" presStyleCnt="7"/>
      <dgm:spPr/>
    </dgm:pt>
    <dgm:pt modelId="{AF6D42BB-05FD-4BF7-88A6-813B51B2D8F2}" type="pres">
      <dgm:prSet presAssocID="{CB1EC49B-70CC-4723-A72D-678F14872D98}" presName="sibTrans" presStyleCnt="0"/>
      <dgm:spPr/>
    </dgm:pt>
    <dgm:pt modelId="{11C5F133-8B13-4692-BE1B-96C1A15CC043}" type="pres">
      <dgm:prSet presAssocID="{CB1EC49B-70CC-4723-A72D-678F14872D98}" presName="space" presStyleCnt="0"/>
      <dgm:spPr/>
    </dgm:pt>
    <dgm:pt modelId="{B9E16EAE-E6DD-43C7-8C6D-0676AF6904C0}" type="pres">
      <dgm:prSet presAssocID="{AF99E733-C2C0-44F6-9933-485793069EED}" presName="composite" presStyleCnt="0"/>
      <dgm:spPr/>
    </dgm:pt>
    <dgm:pt modelId="{D923BDF3-E26B-43A6-94DB-25B7234777CA}" type="pres">
      <dgm:prSet presAssocID="{AF99E733-C2C0-44F6-9933-485793069EED}" presName="LShape" presStyleLbl="alignNode1" presStyleIdx="4" presStyleCnt="7"/>
      <dgm:spPr/>
    </dgm:pt>
    <dgm:pt modelId="{ED261690-8A26-43DD-8A2A-B422A1D2C7A6}" type="pres">
      <dgm:prSet presAssocID="{AF99E733-C2C0-44F6-9933-485793069EED}" presName="ParentText" presStyleLbl="revTx" presStyleIdx="2" presStyleCnt="4">
        <dgm:presLayoutVars>
          <dgm:chMax val="0"/>
          <dgm:chPref val="0"/>
          <dgm:bulletEnabled val="1"/>
        </dgm:presLayoutVars>
      </dgm:prSet>
      <dgm:spPr/>
      <dgm:t>
        <a:bodyPr/>
        <a:lstStyle/>
        <a:p>
          <a:endParaRPr lang="en-US"/>
        </a:p>
      </dgm:t>
    </dgm:pt>
    <dgm:pt modelId="{1780EC40-763E-4BAE-B422-65D3DC80B727}" type="pres">
      <dgm:prSet presAssocID="{AF99E733-C2C0-44F6-9933-485793069EED}" presName="Triangle" presStyleLbl="alignNode1" presStyleIdx="5" presStyleCnt="7"/>
      <dgm:spPr/>
    </dgm:pt>
    <dgm:pt modelId="{BAB1C1D1-0F16-497D-A2F8-E1B56883FCD7}" type="pres">
      <dgm:prSet presAssocID="{F32980C5-2E7F-45BC-8BE6-6E6F0ADE68BF}" presName="sibTrans" presStyleCnt="0"/>
      <dgm:spPr/>
    </dgm:pt>
    <dgm:pt modelId="{C10DDBFA-DA00-4DAE-9A0E-98D2D5B8DDB3}" type="pres">
      <dgm:prSet presAssocID="{F32980C5-2E7F-45BC-8BE6-6E6F0ADE68BF}" presName="space" presStyleCnt="0"/>
      <dgm:spPr/>
    </dgm:pt>
    <dgm:pt modelId="{4AEF4D7D-181E-4056-A787-D070F768128E}" type="pres">
      <dgm:prSet presAssocID="{A6A8704E-B32B-474B-95BB-3DD26548CBFF}" presName="composite" presStyleCnt="0"/>
      <dgm:spPr/>
    </dgm:pt>
    <dgm:pt modelId="{19DFA3A6-2C6D-4EF8-9C53-B34880E45B3E}" type="pres">
      <dgm:prSet presAssocID="{A6A8704E-B32B-474B-95BB-3DD26548CBFF}" presName="LShape" presStyleLbl="alignNode1" presStyleIdx="6" presStyleCnt="7"/>
      <dgm:spPr/>
    </dgm:pt>
    <dgm:pt modelId="{EE6196B9-BB1C-47CA-82A7-4903DF1E1DF5}" type="pres">
      <dgm:prSet presAssocID="{A6A8704E-B32B-474B-95BB-3DD26548CBFF}" presName="ParentText" presStyleLbl="revTx" presStyleIdx="3" presStyleCnt="4">
        <dgm:presLayoutVars>
          <dgm:chMax val="0"/>
          <dgm:chPref val="0"/>
          <dgm:bulletEnabled val="1"/>
        </dgm:presLayoutVars>
      </dgm:prSet>
      <dgm:spPr/>
      <dgm:t>
        <a:bodyPr/>
        <a:lstStyle/>
        <a:p>
          <a:endParaRPr lang="en-US"/>
        </a:p>
      </dgm:t>
    </dgm:pt>
  </dgm:ptLst>
  <dgm:cxnLst>
    <dgm:cxn modelId="{1ADCB34A-FA30-4231-9F4F-C18CB830772F}" type="presOf" srcId="{AF99E733-C2C0-44F6-9933-485793069EED}" destId="{ED261690-8A26-43DD-8A2A-B422A1D2C7A6}" srcOrd="0" destOrd="0" presId="urn:microsoft.com/office/officeart/2009/3/layout/StepUpProcess"/>
    <dgm:cxn modelId="{45F334CB-917D-47FC-BD29-4DF0FE8D84DE}" srcId="{445C263F-915C-4719-B803-201518D9C584}" destId="{AF99E733-C2C0-44F6-9933-485793069EED}" srcOrd="2" destOrd="0" parTransId="{E0110A8F-B510-46A1-B465-BEBFE84502C2}" sibTransId="{F32980C5-2E7F-45BC-8BE6-6E6F0ADE68BF}"/>
    <dgm:cxn modelId="{BA2358F2-6146-4918-AEEC-D2A6E1A134F1}" srcId="{445C263F-915C-4719-B803-201518D9C584}" destId="{A6A8704E-B32B-474B-95BB-3DD26548CBFF}" srcOrd="3" destOrd="0" parTransId="{AD29CCAA-0A4B-47F1-883D-D644A72000A0}" sibTransId="{8C334C82-1D06-486F-96A5-1B3E4D43A274}"/>
    <dgm:cxn modelId="{E744E643-FEC7-4C9B-A757-BAE2D7F8B1DC}" srcId="{445C263F-915C-4719-B803-201518D9C584}" destId="{E91835FD-D3ED-42E9-BE54-C91A40EB21C8}" srcOrd="1" destOrd="0" parTransId="{199E5DEE-4201-4FED-B1BE-DCF774AF1640}" sibTransId="{CB1EC49B-70CC-4723-A72D-678F14872D98}"/>
    <dgm:cxn modelId="{B1410066-45E4-40EE-BF42-48BB0DEC7201}" type="presOf" srcId="{445C263F-915C-4719-B803-201518D9C584}" destId="{2AE84C96-F1CC-47F6-8A80-263DF5C071D6}" srcOrd="0" destOrd="0" presId="urn:microsoft.com/office/officeart/2009/3/layout/StepUpProcess"/>
    <dgm:cxn modelId="{BC53F2DB-333E-451C-895A-67BCAD89A7A1}" srcId="{445C263F-915C-4719-B803-201518D9C584}" destId="{9D6F1614-B7E3-4166-A033-BEE74A3ECDA3}" srcOrd="0" destOrd="0" parTransId="{6AD0B29E-C478-46D5-9AB2-A64CC432B625}" sibTransId="{A1F976C2-2487-4E6C-9935-B5ECB5A13F21}"/>
    <dgm:cxn modelId="{641383D0-351B-4281-AAE7-C30A75E7ABD2}" type="presOf" srcId="{A6A8704E-B32B-474B-95BB-3DD26548CBFF}" destId="{EE6196B9-BB1C-47CA-82A7-4903DF1E1DF5}" srcOrd="0" destOrd="0" presId="urn:microsoft.com/office/officeart/2009/3/layout/StepUpProcess"/>
    <dgm:cxn modelId="{65464339-8605-44B0-8320-7026246C83F2}" type="presOf" srcId="{9D6F1614-B7E3-4166-A033-BEE74A3ECDA3}" destId="{00E99759-AF57-4683-B740-A753C1B8EA17}" srcOrd="0" destOrd="0" presId="urn:microsoft.com/office/officeart/2009/3/layout/StepUpProcess"/>
    <dgm:cxn modelId="{F27EC007-B657-4556-A638-57E5652AADD0}" type="presOf" srcId="{E91835FD-D3ED-42E9-BE54-C91A40EB21C8}" destId="{031FC2F4-DF6A-4C7E-8BF8-D05818EF8FE7}" srcOrd="0" destOrd="0" presId="urn:microsoft.com/office/officeart/2009/3/layout/StepUpProcess"/>
    <dgm:cxn modelId="{F1AD7A59-3B96-4B37-B208-E87FA061C43A}" type="presParOf" srcId="{2AE84C96-F1CC-47F6-8A80-263DF5C071D6}" destId="{027F436E-F60E-4FEB-A238-9BBAAAA1871E}" srcOrd="0" destOrd="0" presId="urn:microsoft.com/office/officeart/2009/3/layout/StepUpProcess"/>
    <dgm:cxn modelId="{96407EF1-6486-4FBA-B577-9DC6E014B637}" type="presParOf" srcId="{027F436E-F60E-4FEB-A238-9BBAAAA1871E}" destId="{6E862C84-9419-4108-8F83-43E4E180EB19}" srcOrd="0" destOrd="0" presId="urn:microsoft.com/office/officeart/2009/3/layout/StepUpProcess"/>
    <dgm:cxn modelId="{B9C760C7-6ED4-48C7-A6C4-7A09F1979210}" type="presParOf" srcId="{027F436E-F60E-4FEB-A238-9BBAAAA1871E}" destId="{00E99759-AF57-4683-B740-A753C1B8EA17}" srcOrd="1" destOrd="0" presId="urn:microsoft.com/office/officeart/2009/3/layout/StepUpProcess"/>
    <dgm:cxn modelId="{36A92634-E780-491A-9E20-8B9E7252C66D}" type="presParOf" srcId="{027F436E-F60E-4FEB-A238-9BBAAAA1871E}" destId="{3170F351-4ECA-4C62-8C1C-6DC424325CA9}" srcOrd="2" destOrd="0" presId="urn:microsoft.com/office/officeart/2009/3/layout/StepUpProcess"/>
    <dgm:cxn modelId="{7F43E901-6672-48B1-9956-874E70213FE0}" type="presParOf" srcId="{2AE84C96-F1CC-47F6-8A80-263DF5C071D6}" destId="{E5FC8E56-EFFC-456D-9C9E-C0FC1B53B63A}" srcOrd="1" destOrd="0" presId="urn:microsoft.com/office/officeart/2009/3/layout/StepUpProcess"/>
    <dgm:cxn modelId="{9E2F23FC-5ABF-481C-9C10-A029695AE778}" type="presParOf" srcId="{E5FC8E56-EFFC-456D-9C9E-C0FC1B53B63A}" destId="{63ABC58D-7BDA-4C34-91A2-FFADBBB3F8CD}" srcOrd="0" destOrd="0" presId="urn:microsoft.com/office/officeart/2009/3/layout/StepUpProcess"/>
    <dgm:cxn modelId="{6D02B948-7980-48EA-907A-F8583B425C77}" type="presParOf" srcId="{2AE84C96-F1CC-47F6-8A80-263DF5C071D6}" destId="{87E3E891-1530-40E9-85A6-21F0F55998F2}" srcOrd="2" destOrd="0" presId="urn:microsoft.com/office/officeart/2009/3/layout/StepUpProcess"/>
    <dgm:cxn modelId="{AC515D60-EC8B-4F57-82F8-708A38FE809C}" type="presParOf" srcId="{87E3E891-1530-40E9-85A6-21F0F55998F2}" destId="{94899ABB-372C-4850-B66A-257AF7B09E4D}" srcOrd="0" destOrd="0" presId="urn:microsoft.com/office/officeart/2009/3/layout/StepUpProcess"/>
    <dgm:cxn modelId="{04F4A1B3-A34E-4802-A1C9-EA14A3EB6812}" type="presParOf" srcId="{87E3E891-1530-40E9-85A6-21F0F55998F2}" destId="{031FC2F4-DF6A-4C7E-8BF8-D05818EF8FE7}" srcOrd="1" destOrd="0" presId="urn:microsoft.com/office/officeart/2009/3/layout/StepUpProcess"/>
    <dgm:cxn modelId="{C030C78B-EAD5-4732-909F-2D363AF46ECF}" type="presParOf" srcId="{87E3E891-1530-40E9-85A6-21F0F55998F2}" destId="{D15437D2-EEDE-49CE-B4D3-D29CFC20E53A}" srcOrd="2" destOrd="0" presId="urn:microsoft.com/office/officeart/2009/3/layout/StepUpProcess"/>
    <dgm:cxn modelId="{3FB35BD6-F507-48F9-B998-C30C550A2467}" type="presParOf" srcId="{2AE84C96-F1CC-47F6-8A80-263DF5C071D6}" destId="{AF6D42BB-05FD-4BF7-88A6-813B51B2D8F2}" srcOrd="3" destOrd="0" presId="urn:microsoft.com/office/officeart/2009/3/layout/StepUpProcess"/>
    <dgm:cxn modelId="{BD30C623-5BE5-456F-89AD-1646D92D1D45}" type="presParOf" srcId="{AF6D42BB-05FD-4BF7-88A6-813B51B2D8F2}" destId="{11C5F133-8B13-4692-BE1B-96C1A15CC043}" srcOrd="0" destOrd="0" presId="urn:microsoft.com/office/officeart/2009/3/layout/StepUpProcess"/>
    <dgm:cxn modelId="{84C1FCA3-B739-42A3-A4F7-FA4D8693468F}" type="presParOf" srcId="{2AE84C96-F1CC-47F6-8A80-263DF5C071D6}" destId="{B9E16EAE-E6DD-43C7-8C6D-0676AF6904C0}" srcOrd="4" destOrd="0" presId="urn:microsoft.com/office/officeart/2009/3/layout/StepUpProcess"/>
    <dgm:cxn modelId="{75ED1F38-201A-4C52-AF4F-168446131491}" type="presParOf" srcId="{B9E16EAE-E6DD-43C7-8C6D-0676AF6904C0}" destId="{D923BDF3-E26B-43A6-94DB-25B7234777CA}" srcOrd="0" destOrd="0" presId="urn:microsoft.com/office/officeart/2009/3/layout/StepUpProcess"/>
    <dgm:cxn modelId="{F33E1A11-8422-41C1-BF88-263336630284}" type="presParOf" srcId="{B9E16EAE-E6DD-43C7-8C6D-0676AF6904C0}" destId="{ED261690-8A26-43DD-8A2A-B422A1D2C7A6}" srcOrd="1" destOrd="0" presId="urn:microsoft.com/office/officeart/2009/3/layout/StepUpProcess"/>
    <dgm:cxn modelId="{2A946F79-F24C-43EE-AAAD-EA20446F4699}" type="presParOf" srcId="{B9E16EAE-E6DD-43C7-8C6D-0676AF6904C0}" destId="{1780EC40-763E-4BAE-B422-65D3DC80B727}" srcOrd="2" destOrd="0" presId="urn:microsoft.com/office/officeart/2009/3/layout/StepUpProcess"/>
    <dgm:cxn modelId="{C447E2FD-D575-49EA-8E37-1A36D8327B00}" type="presParOf" srcId="{2AE84C96-F1CC-47F6-8A80-263DF5C071D6}" destId="{BAB1C1D1-0F16-497D-A2F8-E1B56883FCD7}" srcOrd="5" destOrd="0" presId="urn:microsoft.com/office/officeart/2009/3/layout/StepUpProcess"/>
    <dgm:cxn modelId="{38A56FF5-6FB9-484E-8BAA-8FFA310D331B}" type="presParOf" srcId="{BAB1C1D1-0F16-497D-A2F8-E1B56883FCD7}" destId="{C10DDBFA-DA00-4DAE-9A0E-98D2D5B8DDB3}" srcOrd="0" destOrd="0" presId="urn:microsoft.com/office/officeart/2009/3/layout/StepUpProcess"/>
    <dgm:cxn modelId="{90467FE9-D1EF-4BAB-AAA2-42C3C54F2A6A}" type="presParOf" srcId="{2AE84C96-F1CC-47F6-8A80-263DF5C071D6}" destId="{4AEF4D7D-181E-4056-A787-D070F768128E}" srcOrd="6" destOrd="0" presId="urn:microsoft.com/office/officeart/2009/3/layout/StepUpProcess"/>
    <dgm:cxn modelId="{0EFA9E76-2542-46B0-AD02-1F4615FBBE90}" type="presParOf" srcId="{4AEF4D7D-181E-4056-A787-D070F768128E}" destId="{19DFA3A6-2C6D-4EF8-9C53-B34880E45B3E}" srcOrd="0" destOrd="0" presId="urn:microsoft.com/office/officeart/2009/3/layout/StepUpProcess"/>
    <dgm:cxn modelId="{5DDB07EF-2729-435A-82C0-3D0B65E78D1F}" type="presParOf" srcId="{4AEF4D7D-181E-4056-A787-D070F768128E}" destId="{EE6196B9-BB1C-47CA-82A7-4903DF1E1DF5}"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50A5FF14-6E91-44FA-A51B-1C31DF6FC79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AA7F129A-39F8-4E37-A51A-8A89915D0C69}">
      <dgm:prSet phldrT="[Текст]"/>
      <dgm:spPr>
        <a:solidFill>
          <a:schemeClr val="accent2">
            <a:lumMod val="20000"/>
            <a:lumOff val="80000"/>
          </a:schemeClr>
        </a:solidFill>
      </dgm:spPr>
      <dgm:t>
        <a:bodyPr vert="vert270"/>
        <a:lstStyle/>
        <a:p>
          <a:pPr algn="ctr"/>
          <a:r>
            <a:rPr lang="uk-UA" noProof="1"/>
            <a:t>Справа про переведення</a:t>
          </a:r>
        </a:p>
        <a:p>
          <a:pPr algn="ctr"/>
          <a:r>
            <a:rPr lang="uk-UA" b="0" i="0" noProof="1"/>
            <a:t>(лікарня)</a:t>
          </a:r>
        </a:p>
        <a:p>
          <a:pPr algn="ctr"/>
          <a:r>
            <a:rPr lang="uk-UA" b="0" i="0" noProof="1"/>
            <a:t>Справа № 2/381/641/22</a:t>
          </a:r>
          <a:endParaRPr lang="uk-UA" noProof="1"/>
        </a:p>
      </dgm:t>
    </dgm:pt>
    <dgm:pt modelId="{63BF66A6-09F3-4527-88E3-6381FFBE5AD5}" type="parTrans" cxnId="{E76A9518-2FAE-46BA-9C12-6E06DACB0B5D}">
      <dgm:prSet/>
      <dgm:spPr/>
      <dgm:t>
        <a:bodyPr/>
        <a:lstStyle/>
        <a:p>
          <a:endParaRPr lang="ru-UA"/>
        </a:p>
      </dgm:t>
    </dgm:pt>
    <dgm:pt modelId="{BA214040-64A2-4A16-B651-4D733AFFE4C6}" type="sibTrans" cxnId="{E76A9518-2FAE-46BA-9C12-6E06DACB0B5D}">
      <dgm:prSet/>
      <dgm:spPr/>
      <dgm:t>
        <a:bodyPr/>
        <a:lstStyle/>
        <a:p>
          <a:endParaRPr lang="ru-UA"/>
        </a:p>
      </dgm:t>
    </dgm:pt>
    <dgm:pt modelId="{8DAEB9DC-3CB1-4F23-B2DB-CA985410F4C2}">
      <dgm:prSet phldrT="[Текст]" custT="1"/>
      <dgm:spPr/>
      <dgm:t>
        <a:bodyPr/>
        <a:lstStyle/>
        <a:p>
          <a:pPr rtl="0"/>
          <a:r>
            <a:rPr lang="uk-UA" sz="3200" b="0" i="0" noProof="1"/>
            <a:t>з 21.10.2020 позивач працювала на посаді молодшої медичної сестри палатної в першому відділенні КНП КОР «ОПНМО», але 14.04.2022 їй було надано на ознайомлення копію витягу з наказу про переведення на посаду молодшої сестри з догляду за хворими.</a:t>
          </a:r>
          <a:endParaRPr lang="uk-UA" sz="3200" noProof="1"/>
        </a:p>
      </dgm:t>
    </dgm:pt>
    <dgm:pt modelId="{94297B8E-4E83-4E2C-881D-C820F5DD3E9A}" type="parTrans" cxnId="{CDA2D0D8-F605-4EA0-B12C-74EB4870C248}">
      <dgm:prSet/>
      <dgm:spPr/>
      <dgm:t>
        <a:bodyPr/>
        <a:lstStyle/>
        <a:p>
          <a:endParaRPr lang="ru-UA"/>
        </a:p>
      </dgm:t>
    </dgm:pt>
    <dgm:pt modelId="{E61B12C0-DD26-4203-838C-DC3BBEAF4A3F}" type="sibTrans" cxnId="{CDA2D0D8-F605-4EA0-B12C-74EB4870C248}">
      <dgm:prSet/>
      <dgm:spPr/>
      <dgm:t>
        <a:bodyPr/>
        <a:lstStyle/>
        <a:p>
          <a:endParaRPr lang="ru-UA"/>
        </a:p>
      </dgm:t>
    </dgm:pt>
    <dgm:pt modelId="{B2A23F94-A4EC-4C97-BB35-F92B83B780A0}">
      <dgm:prSet phldrT="[Текст]" custT="1"/>
      <dgm:spPr/>
      <dgm:t>
        <a:bodyPr/>
        <a:lstStyle/>
        <a:p>
          <a:r>
            <a:rPr lang="uk-UA" sz="3200" b="0" i="0" noProof="1"/>
            <a:t>Завчасного повідомдення не було. Згоди вона не давала</a:t>
          </a:r>
        </a:p>
      </dgm:t>
    </dgm:pt>
    <dgm:pt modelId="{8F6F6E59-92AB-479B-BB5F-0F775359712A}" type="parTrans" cxnId="{D479ABDE-EDBA-46B3-99F9-DF21A141CAF5}">
      <dgm:prSet/>
      <dgm:spPr/>
      <dgm:t>
        <a:bodyPr/>
        <a:lstStyle/>
        <a:p>
          <a:endParaRPr lang="ru-UA"/>
        </a:p>
      </dgm:t>
    </dgm:pt>
    <dgm:pt modelId="{41A893FE-0153-48B5-A0B0-D09CE5430403}" type="sibTrans" cxnId="{D479ABDE-EDBA-46B3-99F9-DF21A141CAF5}">
      <dgm:prSet/>
      <dgm:spPr/>
      <dgm:t>
        <a:bodyPr/>
        <a:lstStyle/>
        <a:p>
          <a:endParaRPr lang="ru-UA"/>
        </a:p>
      </dgm:t>
    </dgm:pt>
    <dgm:pt modelId="{EE25DD75-2331-470A-A5D8-1E4D4A14464C}">
      <dgm:prSet phldrT="[Текст]" custT="1"/>
      <dgm:spPr/>
      <dgm:t>
        <a:bodyPr/>
        <a:lstStyle/>
        <a:p>
          <a:r>
            <a:rPr lang="uk-UA" sz="3200" b="0" i="0" noProof="1"/>
            <a:t>Як вбачається з акту, підписаного інспектором відділу кадрів та ще двома представниками, 13.04.2022 була здійснена телефонограма ОСОБА_1 про ознайомлення її з наказом № 195-п від 13.04.2022 та про її вихід на робочу місце 14.04.2022.</a:t>
          </a:r>
        </a:p>
      </dgm:t>
    </dgm:pt>
    <dgm:pt modelId="{60B0ADA5-37F7-499C-8640-C406BEBA6687}" type="parTrans" cxnId="{BD586A67-4E82-4509-8D6E-4E12291FFE1D}">
      <dgm:prSet/>
      <dgm:spPr/>
      <dgm:t>
        <a:bodyPr/>
        <a:lstStyle/>
        <a:p>
          <a:endParaRPr lang="ru-UA"/>
        </a:p>
      </dgm:t>
    </dgm:pt>
    <dgm:pt modelId="{907DD31B-C5F9-4592-8F74-62761FB6A96D}" type="sibTrans" cxnId="{BD586A67-4E82-4509-8D6E-4E12291FFE1D}">
      <dgm:prSet/>
      <dgm:spPr/>
      <dgm:t>
        <a:bodyPr/>
        <a:lstStyle/>
        <a:p>
          <a:endParaRPr lang="ru-UA"/>
        </a:p>
      </dgm:t>
    </dgm:pt>
    <dgm:pt modelId="{B105F0D2-A60B-436A-BA65-BD1DA3A7F260}">
      <dgm:prSet phldrT="[Текст]" custT="1"/>
      <dgm:spPr/>
      <dgm:t>
        <a:bodyPr/>
        <a:lstStyle/>
        <a:p>
          <a:r>
            <a:rPr lang="uk-UA" sz="3200" b="0" i="0" noProof="1"/>
            <a:t>Обгрунтування наказу - забезпечення нормальних життєвих умов пацієнтів в період воєнного стану</a:t>
          </a:r>
        </a:p>
      </dgm:t>
    </dgm:pt>
    <dgm:pt modelId="{9B598582-7D98-4296-AD2A-F3EAB5A7FD87}" type="parTrans" cxnId="{8A1D1CB5-830E-4F1E-99AB-F855AAE12BD9}">
      <dgm:prSet/>
      <dgm:spPr/>
      <dgm:t>
        <a:bodyPr/>
        <a:lstStyle/>
        <a:p>
          <a:endParaRPr lang="ru-UA"/>
        </a:p>
      </dgm:t>
    </dgm:pt>
    <dgm:pt modelId="{2F639D18-46B6-4E93-94CF-5FCF2FDDB842}" type="sibTrans" cxnId="{8A1D1CB5-830E-4F1E-99AB-F855AAE12BD9}">
      <dgm:prSet/>
      <dgm:spPr/>
      <dgm:t>
        <a:bodyPr/>
        <a:lstStyle/>
        <a:p>
          <a:endParaRPr lang="ru-UA"/>
        </a:p>
      </dgm:t>
    </dgm:pt>
    <dgm:pt modelId="{DC1747FD-EA5B-459F-BCA8-A4B901B6DCE8}" type="pres">
      <dgm:prSet presAssocID="{50A5FF14-6E91-44FA-A51B-1C31DF6FC79F}" presName="vert0" presStyleCnt="0">
        <dgm:presLayoutVars>
          <dgm:dir/>
          <dgm:animOne val="branch"/>
          <dgm:animLvl val="lvl"/>
        </dgm:presLayoutVars>
      </dgm:prSet>
      <dgm:spPr/>
      <dgm:t>
        <a:bodyPr/>
        <a:lstStyle/>
        <a:p>
          <a:endParaRPr lang="en-US"/>
        </a:p>
      </dgm:t>
    </dgm:pt>
    <dgm:pt modelId="{5CF985C4-2067-4047-BA7D-3E7421B6ADF5}" type="pres">
      <dgm:prSet presAssocID="{AA7F129A-39F8-4E37-A51A-8A89915D0C69}" presName="thickLine" presStyleLbl="alignNode1" presStyleIdx="0" presStyleCnt="1"/>
      <dgm:spPr/>
    </dgm:pt>
    <dgm:pt modelId="{D309DAB1-D711-4676-B0C9-9800CF1508A1}" type="pres">
      <dgm:prSet presAssocID="{AA7F129A-39F8-4E37-A51A-8A89915D0C69}" presName="horz1" presStyleCnt="0"/>
      <dgm:spPr/>
    </dgm:pt>
    <dgm:pt modelId="{44949010-F43F-4273-BF25-436505F95A4B}" type="pres">
      <dgm:prSet presAssocID="{AA7F129A-39F8-4E37-A51A-8A89915D0C69}" presName="tx1" presStyleLbl="revTx" presStyleIdx="0" presStyleCnt="5" custScaleX="57921"/>
      <dgm:spPr/>
      <dgm:t>
        <a:bodyPr/>
        <a:lstStyle/>
        <a:p>
          <a:endParaRPr lang="en-US"/>
        </a:p>
      </dgm:t>
    </dgm:pt>
    <dgm:pt modelId="{75D8827E-E612-4E90-9865-159664BEB206}" type="pres">
      <dgm:prSet presAssocID="{AA7F129A-39F8-4E37-A51A-8A89915D0C69}" presName="vert1" presStyleCnt="0"/>
      <dgm:spPr/>
    </dgm:pt>
    <dgm:pt modelId="{4ADF22E8-3100-462E-BD11-86CD665F8D0C}" type="pres">
      <dgm:prSet presAssocID="{8DAEB9DC-3CB1-4F23-B2DB-CA985410F4C2}" presName="vertSpace2a" presStyleCnt="0"/>
      <dgm:spPr/>
    </dgm:pt>
    <dgm:pt modelId="{E89453A4-B185-47D3-849E-E9CABF201404}" type="pres">
      <dgm:prSet presAssocID="{8DAEB9DC-3CB1-4F23-B2DB-CA985410F4C2}" presName="horz2" presStyleCnt="0"/>
      <dgm:spPr/>
    </dgm:pt>
    <dgm:pt modelId="{464B60E8-6366-42D9-A004-6BC91C48E882}" type="pres">
      <dgm:prSet presAssocID="{8DAEB9DC-3CB1-4F23-B2DB-CA985410F4C2}" presName="horzSpace2" presStyleCnt="0"/>
      <dgm:spPr/>
    </dgm:pt>
    <dgm:pt modelId="{84131AAB-2705-453B-9466-179E67A33C0A}" type="pres">
      <dgm:prSet presAssocID="{8DAEB9DC-3CB1-4F23-B2DB-CA985410F4C2}" presName="tx2" presStyleLbl="revTx" presStyleIdx="1" presStyleCnt="5"/>
      <dgm:spPr/>
      <dgm:t>
        <a:bodyPr/>
        <a:lstStyle/>
        <a:p>
          <a:endParaRPr lang="en-US"/>
        </a:p>
      </dgm:t>
    </dgm:pt>
    <dgm:pt modelId="{5AF543EF-8350-4780-A716-140E37046FB1}" type="pres">
      <dgm:prSet presAssocID="{8DAEB9DC-3CB1-4F23-B2DB-CA985410F4C2}" presName="vert2" presStyleCnt="0"/>
      <dgm:spPr/>
    </dgm:pt>
    <dgm:pt modelId="{81DB2667-891F-46F6-87CB-9D0638423E56}" type="pres">
      <dgm:prSet presAssocID="{8DAEB9DC-3CB1-4F23-B2DB-CA985410F4C2}" presName="thinLine2b" presStyleLbl="callout" presStyleIdx="0" presStyleCnt="4"/>
      <dgm:spPr/>
    </dgm:pt>
    <dgm:pt modelId="{E0DB8A00-2A7A-4B90-AC2F-B1E0849E1DBE}" type="pres">
      <dgm:prSet presAssocID="{8DAEB9DC-3CB1-4F23-B2DB-CA985410F4C2}" presName="vertSpace2b" presStyleCnt="0"/>
      <dgm:spPr/>
    </dgm:pt>
    <dgm:pt modelId="{C53C17A6-55AC-4EAA-9EA1-D63E2AAA0025}" type="pres">
      <dgm:prSet presAssocID="{B2A23F94-A4EC-4C97-BB35-F92B83B780A0}" presName="horz2" presStyleCnt="0"/>
      <dgm:spPr/>
    </dgm:pt>
    <dgm:pt modelId="{B4DE0A4A-DE8D-4CA4-A73D-F4986CE47A4E}" type="pres">
      <dgm:prSet presAssocID="{B2A23F94-A4EC-4C97-BB35-F92B83B780A0}" presName="horzSpace2" presStyleCnt="0"/>
      <dgm:spPr/>
    </dgm:pt>
    <dgm:pt modelId="{5B07DF82-DC38-4B52-A931-DAA4389F017B}" type="pres">
      <dgm:prSet presAssocID="{B2A23F94-A4EC-4C97-BB35-F92B83B780A0}" presName="tx2" presStyleLbl="revTx" presStyleIdx="2" presStyleCnt="5"/>
      <dgm:spPr/>
      <dgm:t>
        <a:bodyPr/>
        <a:lstStyle/>
        <a:p>
          <a:endParaRPr lang="en-US"/>
        </a:p>
      </dgm:t>
    </dgm:pt>
    <dgm:pt modelId="{10DDAC69-CCBF-4A78-814D-67B72EC11F79}" type="pres">
      <dgm:prSet presAssocID="{B2A23F94-A4EC-4C97-BB35-F92B83B780A0}" presName="vert2" presStyleCnt="0"/>
      <dgm:spPr/>
    </dgm:pt>
    <dgm:pt modelId="{6B27170D-1061-408B-8B34-5CBCA78B88AB}" type="pres">
      <dgm:prSet presAssocID="{B2A23F94-A4EC-4C97-BB35-F92B83B780A0}" presName="thinLine2b" presStyleLbl="callout" presStyleIdx="1" presStyleCnt="4"/>
      <dgm:spPr/>
    </dgm:pt>
    <dgm:pt modelId="{279E605E-E053-4D98-A68A-BD230BE9CCD2}" type="pres">
      <dgm:prSet presAssocID="{B2A23F94-A4EC-4C97-BB35-F92B83B780A0}" presName="vertSpace2b" presStyleCnt="0"/>
      <dgm:spPr/>
    </dgm:pt>
    <dgm:pt modelId="{42B769F7-53BB-4A6C-B4EF-7114EBB42CC1}" type="pres">
      <dgm:prSet presAssocID="{EE25DD75-2331-470A-A5D8-1E4D4A14464C}" presName="horz2" presStyleCnt="0"/>
      <dgm:spPr/>
    </dgm:pt>
    <dgm:pt modelId="{32AD3767-4462-46DD-99A9-02016157831D}" type="pres">
      <dgm:prSet presAssocID="{EE25DD75-2331-470A-A5D8-1E4D4A14464C}" presName="horzSpace2" presStyleCnt="0"/>
      <dgm:spPr/>
    </dgm:pt>
    <dgm:pt modelId="{2B469E29-8BDC-4B1D-B3D2-557483EA1DA7}" type="pres">
      <dgm:prSet presAssocID="{EE25DD75-2331-470A-A5D8-1E4D4A14464C}" presName="tx2" presStyleLbl="revTx" presStyleIdx="3" presStyleCnt="5"/>
      <dgm:spPr/>
      <dgm:t>
        <a:bodyPr/>
        <a:lstStyle/>
        <a:p>
          <a:endParaRPr lang="en-US"/>
        </a:p>
      </dgm:t>
    </dgm:pt>
    <dgm:pt modelId="{C4CAD0DC-2D5F-4249-841B-00F103E73713}" type="pres">
      <dgm:prSet presAssocID="{EE25DD75-2331-470A-A5D8-1E4D4A14464C}" presName="vert2" presStyleCnt="0"/>
      <dgm:spPr/>
    </dgm:pt>
    <dgm:pt modelId="{9F402C8B-EC4C-464A-A233-3B007B6933B7}" type="pres">
      <dgm:prSet presAssocID="{EE25DD75-2331-470A-A5D8-1E4D4A14464C}" presName="thinLine2b" presStyleLbl="callout" presStyleIdx="2" presStyleCnt="4"/>
      <dgm:spPr/>
    </dgm:pt>
    <dgm:pt modelId="{754585FE-0F48-4D39-91A6-C9D5BB28974E}" type="pres">
      <dgm:prSet presAssocID="{EE25DD75-2331-470A-A5D8-1E4D4A14464C}" presName="vertSpace2b" presStyleCnt="0"/>
      <dgm:spPr/>
    </dgm:pt>
    <dgm:pt modelId="{D80EF6A1-B192-491D-A269-3DA8F17951C8}" type="pres">
      <dgm:prSet presAssocID="{B105F0D2-A60B-436A-BA65-BD1DA3A7F260}" presName="horz2" presStyleCnt="0"/>
      <dgm:spPr/>
    </dgm:pt>
    <dgm:pt modelId="{365D2A4A-894F-4F71-9C56-A3757A223693}" type="pres">
      <dgm:prSet presAssocID="{B105F0D2-A60B-436A-BA65-BD1DA3A7F260}" presName="horzSpace2" presStyleCnt="0"/>
      <dgm:spPr/>
    </dgm:pt>
    <dgm:pt modelId="{E30E4798-DC49-416B-A46B-4EBC164447B9}" type="pres">
      <dgm:prSet presAssocID="{B105F0D2-A60B-436A-BA65-BD1DA3A7F260}" presName="tx2" presStyleLbl="revTx" presStyleIdx="4" presStyleCnt="5"/>
      <dgm:spPr/>
      <dgm:t>
        <a:bodyPr/>
        <a:lstStyle/>
        <a:p>
          <a:endParaRPr lang="en-US"/>
        </a:p>
      </dgm:t>
    </dgm:pt>
    <dgm:pt modelId="{98E84556-99BC-4683-87EE-5DB96EAE4430}" type="pres">
      <dgm:prSet presAssocID="{B105F0D2-A60B-436A-BA65-BD1DA3A7F260}" presName="vert2" presStyleCnt="0"/>
      <dgm:spPr/>
    </dgm:pt>
    <dgm:pt modelId="{0ED91751-EE00-49F4-9E49-97E96AD83DA8}" type="pres">
      <dgm:prSet presAssocID="{B105F0D2-A60B-436A-BA65-BD1DA3A7F260}" presName="thinLine2b" presStyleLbl="callout" presStyleIdx="3" presStyleCnt="4"/>
      <dgm:spPr/>
    </dgm:pt>
    <dgm:pt modelId="{A6F97801-1BD2-45DE-9181-1FEE902A688F}" type="pres">
      <dgm:prSet presAssocID="{B105F0D2-A60B-436A-BA65-BD1DA3A7F260}" presName="vertSpace2b" presStyleCnt="0"/>
      <dgm:spPr/>
    </dgm:pt>
  </dgm:ptLst>
  <dgm:cxnLst>
    <dgm:cxn modelId="{B92730E8-BBA6-4CC4-9228-702B64AABD1D}" type="presOf" srcId="{AA7F129A-39F8-4E37-A51A-8A89915D0C69}" destId="{44949010-F43F-4273-BF25-436505F95A4B}" srcOrd="0" destOrd="0" presId="urn:microsoft.com/office/officeart/2008/layout/LinedList"/>
    <dgm:cxn modelId="{0D03DDB4-6575-47F9-AE6A-C6E9F789A458}" type="presOf" srcId="{8DAEB9DC-3CB1-4F23-B2DB-CA985410F4C2}" destId="{84131AAB-2705-453B-9466-179E67A33C0A}" srcOrd="0" destOrd="0" presId="urn:microsoft.com/office/officeart/2008/layout/LinedList"/>
    <dgm:cxn modelId="{5BD7F51D-51B0-491D-9A7E-62E915CB135A}" type="presOf" srcId="{B2A23F94-A4EC-4C97-BB35-F92B83B780A0}" destId="{5B07DF82-DC38-4B52-A931-DAA4389F017B}" srcOrd="0" destOrd="0" presId="urn:microsoft.com/office/officeart/2008/layout/LinedList"/>
    <dgm:cxn modelId="{5BA611B6-34FF-442F-9A51-224F6C39B87D}" type="presOf" srcId="{EE25DD75-2331-470A-A5D8-1E4D4A14464C}" destId="{2B469E29-8BDC-4B1D-B3D2-557483EA1DA7}" srcOrd="0" destOrd="0" presId="urn:microsoft.com/office/officeart/2008/layout/LinedList"/>
    <dgm:cxn modelId="{CDA2D0D8-F605-4EA0-B12C-74EB4870C248}" srcId="{AA7F129A-39F8-4E37-A51A-8A89915D0C69}" destId="{8DAEB9DC-3CB1-4F23-B2DB-CA985410F4C2}" srcOrd="0" destOrd="0" parTransId="{94297B8E-4E83-4E2C-881D-C820F5DD3E9A}" sibTransId="{E61B12C0-DD26-4203-838C-DC3BBEAF4A3F}"/>
    <dgm:cxn modelId="{8A1D1CB5-830E-4F1E-99AB-F855AAE12BD9}" srcId="{AA7F129A-39F8-4E37-A51A-8A89915D0C69}" destId="{B105F0D2-A60B-436A-BA65-BD1DA3A7F260}" srcOrd="3" destOrd="0" parTransId="{9B598582-7D98-4296-AD2A-F3EAB5A7FD87}" sibTransId="{2F639D18-46B6-4E93-94CF-5FCF2FDDB842}"/>
    <dgm:cxn modelId="{0E8C992E-7BCF-4AF3-B86C-BD429208E5B3}" type="presOf" srcId="{50A5FF14-6E91-44FA-A51B-1C31DF6FC79F}" destId="{DC1747FD-EA5B-459F-BCA8-A4B901B6DCE8}" srcOrd="0" destOrd="0" presId="urn:microsoft.com/office/officeart/2008/layout/LinedList"/>
    <dgm:cxn modelId="{6E728AAB-2541-4BCF-8C26-FE8AE8A37FD4}" type="presOf" srcId="{B105F0D2-A60B-436A-BA65-BD1DA3A7F260}" destId="{E30E4798-DC49-416B-A46B-4EBC164447B9}" srcOrd="0" destOrd="0" presId="urn:microsoft.com/office/officeart/2008/layout/LinedList"/>
    <dgm:cxn modelId="{BD586A67-4E82-4509-8D6E-4E12291FFE1D}" srcId="{AA7F129A-39F8-4E37-A51A-8A89915D0C69}" destId="{EE25DD75-2331-470A-A5D8-1E4D4A14464C}" srcOrd="2" destOrd="0" parTransId="{60B0ADA5-37F7-499C-8640-C406BEBA6687}" sibTransId="{907DD31B-C5F9-4592-8F74-62761FB6A96D}"/>
    <dgm:cxn modelId="{E76A9518-2FAE-46BA-9C12-6E06DACB0B5D}" srcId="{50A5FF14-6E91-44FA-A51B-1C31DF6FC79F}" destId="{AA7F129A-39F8-4E37-A51A-8A89915D0C69}" srcOrd="0" destOrd="0" parTransId="{63BF66A6-09F3-4527-88E3-6381FFBE5AD5}" sibTransId="{BA214040-64A2-4A16-B651-4D733AFFE4C6}"/>
    <dgm:cxn modelId="{D479ABDE-EDBA-46B3-99F9-DF21A141CAF5}" srcId="{AA7F129A-39F8-4E37-A51A-8A89915D0C69}" destId="{B2A23F94-A4EC-4C97-BB35-F92B83B780A0}" srcOrd="1" destOrd="0" parTransId="{8F6F6E59-92AB-479B-BB5F-0F775359712A}" sibTransId="{41A893FE-0153-48B5-A0B0-D09CE5430403}"/>
    <dgm:cxn modelId="{64F70EA9-E0D5-417D-864C-31486F6A85AD}" type="presParOf" srcId="{DC1747FD-EA5B-459F-BCA8-A4B901B6DCE8}" destId="{5CF985C4-2067-4047-BA7D-3E7421B6ADF5}" srcOrd="0" destOrd="0" presId="urn:microsoft.com/office/officeart/2008/layout/LinedList"/>
    <dgm:cxn modelId="{C1B7A34D-530E-47A7-91D7-C800FA9815BF}" type="presParOf" srcId="{DC1747FD-EA5B-459F-BCA8-A4B901B6DCE8}" destId="{D309DAB1-D711-4676-B0C9-9800CF1508A1}" srcOrd="1" destOrd="0" presId="urn:microsoft.com/office/officeart/2008/layout/LinedList"/>
    <dgm:cxn modelId="{2C78FD2D-37D7-4369-91FA-1F840741056F}" type="presParOf" srcId="{D309DAB1-D711-4676-B0C9-9800CF1508A1}" destId="{44949010-F43F-4273-BF25-436505F95A4B}" srcOrd="0" destOrd="0" presId="urn:microsoft.com/office/officeart/2008/layout/LinedList"/>
    <dgm:cxn modelId="{B99417BA-4126-4209-9BEC-18AAB49DC406}" type="presParOf" srcId="{D309DAB1-D711-4676-B0C9-9800CF1508A1}" destId="{75D8827E-E612-4E90-9865-159664BEB206}" srcOrd="1" destOrd="0" presId="urn:microsoft.com/office/officeart/2008/layout/LinedList"/>
    <dgm:cxn modelId="{E02007E7-E1DF-4274-8FE0-6FB3C3A66081}" type="presParOf" srcId="{75D8827E-E612-4E90-9865-159664BEB206}" destId="{4ADF22E8-3100-462E-BD11-86CD665F8D0C}" srcOrd="0" destOrd="0" presId="urn:microsoft.com/office/officeart/2008/layout/LinedList"/>
    <dgm:cxn modelId="{DA0B616F-AE33-46D9-87A4-66944C690BC5}" type="presParOf" srcId="{75D8827E-E612-4E90-9865-159664BEB206}" destId="{E89453A4-B185-47D3-849E-E9CABF201404}" srcOrd="1" destOrd="0" presId="urn:microsoft.com/office/officeart/2008/layout/LinedList"/>
    <dgm:cxn modelId="{F54ADEE6-4C35-4068-B457-06954853783E}" type="presParOf" srcId="{E89453A4-B185-47D3-849E-E9CABF201404}" destId="{464B60E8-6366-42D9-A004-6BC91C48E882}" srcOrd="0" destOrd="0" presId="urn:microsoft.com/office/officeart/2008/layout/LinedList"/>
    <dgm:cxn modelId="{6FF1E083-4F64-4626-A4A1-D1744CE7C88C}" type="presParOf" srcId="{E89453A4-B185-47D3-849E-E9CABF201404}" destId="{84131AAB-2705-453B-9466-179E67A33C0A}" srcOrd="1" destOrd="0" presId="urn:microsoft.com/office/officeart/2008/layout/LinedList"/>
    <dgm:cxn modelId="{15E72954-81A2-41BE-9622-44DB2C7E3C38}" type="presParOf" srcId="{E89453A4-B185-47D3-849E-E9CABF201404}" destId="{5AF543EF-8350-4780-A716-140E37046FB1}" srcOrd="2" destOrd="0" presId="urn:microsoft.com/office/officeart/2008/layout/LinedList"/>
    <dgm:cxn modelId="{8CFAE725-CB2D-458A-BE93-2C98F9523048}" type="presParOf" srcId="{75D8827E-E612-4E90-9865-159664BEB206}" destId="{81DB2667-891F-46F6-87CB-9D0638423E56}" srcOrd="2" destOrd="0" presId="urn:microsoft.com/office/officeart/2008/layout/LinedList"/>
    <dgm:cxn modelId="{2B16B153-A7AB-4CBE-A623-3431AB9DF3CA}" type="presParOf" srcId="{75D8827E-E612-4E90-9865-159664BEB206}" destId="{E0DB8A00-2A7A-4B90-AC2F-B1E0849E1DBE}" srcOrd="3" destOrd="0" presId="urn:microsoft.com/office/officeart/2008/layout/LinedList"/>
    <dgm:cxn modelId="{48B75B82-327E-4C6A-B2A3-5E0777A35954}" type="presParOf" srcId="{75D8827E-E612-4E90-9865-159664BEB206}" destId="{C53C17A6-55AC-4EAA-9EA1-D63E2AAA0025}" srcOrd="4" destOrd="0" presId="urn:microsoft.com/office/officeart/2008/layout/LinedList"/>
    <dgm:cxn modelId="{9D2F8B5F-B814-460B-BD60-72E82C5EDD87}" type="presParOf" srcId="{C53C17A6-55AC-4EAA-9EA1-D63E2AAA0025}" destId="{B4DE0A4A-DE8D-4CA4-A73D-F4986CE47A4E}" srcOrd="0" destOrd="0" presId="urn:microsoft.com/office/officeart/2008/layout/LinedList"/>
    <dgm:cxn modelId="{198CF2CA-7868-4B1A-9C79-7FC025D662C3}" type="presParOf" srcId="{C53C17A6-55AC-4EAA-9EA1-D63E2AAA0025}" destId="{5B07DF82-DC38-4B52-A931-DAA4389F017B}" srcOrd="1" destOrd="0" presId="urn:microsoft.com/office/officeart/2008/layout/LinedList"/>
    <dgm:cxn modelId="{6FC61405-67FA-4EB3-B020-C7F0F8C81DE1}" type="presParOf" srcId="{C53C17A6-55AC-4EAA-9EA1-D63E2AAA0025}" destId="{10DDAC69-CCBF-4A78-814D-67B72EC11F79}" srcOrd="2" destOrd="0" presId="urn:microsoft.com/office/officeart/2008/layout/LinedList"/>
    <dgm:cxn modelId="{C326CF11-ACBF-4EDD-A856-014AE45B9E42}" type="presParOf" srcId="{75D8827E-E612-4E90-9865-159664BEB206}" destId="{6B27170D-1061-408B-8B34-5CBCA78B88AB}" srcOrd="5" destOrd="0" presId="urn:microsoft.com/office/officeart/2008/layout/LinedList"/>
    <dgm:cxn modelId="{DB6FC8BB-5A6D-4145-9947-950247A607E6}" type="presParOf" srcId="{75D8827E-E612-4E90-9865-159664BEB206}" destId="{279E605E-E053-4D98-A68A-BD230BE9CCD2}" srcOrd="6" destOrd="0" presId="urn:microsoft.com/office/officeart/2008/layout/LinedList"/>
    <dgm:cxn modelId="{FC031EDE-45DA-461A-ABF3-19E8A1A1BFCD}" type="presParOf" srcId="{75D8827E-E612-4E90-9865-159664BEB206}" destId="{42B769F7-53BB-4A6C-B4EF-7114EBB42CC1}" srcOrd="7" destOrd="0" presId="urn:microsoft.com/office/officeart/2008/layout/LinedList"/>
    <dgm:cxn modelId="{B352D533-DC51-4A7C-A762-F413CC3FD30D}" type="presParOf" srcId="{42B769F7-53BB-4A6C-B4EF-7114EBB42CC1}" destId="{32AD3767-4462-46DD-99A9-02016157831D}" srcOrd="0" destOrd="0" presId="urn:microsoft.com/office/officeart/2008/layout/LinedList"/>
    <dgm:cxn modelId="{C3F868EC-6490-4120-B783-41C253C034D3}" type="presParOf" srcId="{42B769F7-53BB-4A6C-B4EF-7114EBB42CC1}" destId="{2B469E29-8BDC-4B1D-B3D2-557483EA1DA7}" srcOrd="1" destOrd="0" presId="urn:microsoft.com/office/officeart/2008/layout/LinedList"/>
    <dgm:cxn modelId="{2F8C0CCF-55FE-4CCA-87CA-E86513735236}" type="presParOf" srcId="{42B769F7-53BB-4A6C-B4EF-7114EBB42CC1}" destId="{C4CAD0DC-2D5F-4249-841B-00F103E73713}" srcOrd="2" destOrd="0" presId="urn:microsoft.com/office/officeart/2008/layout/LinedList"/>
    <dgm:cxn modelId="{C97CE1A6-3E5F-4BA4-8849-9E4D3EDD0080}" type="presParOf" srcId="{75D8827E-E612-4E90-9865-159664BEB206}" destId="{9F402C8B-EC4C-464A-A233-3B007B6933B7}" srcOrd="8" destOrd="0" presId="urn:microsoft.com/office/officeart/2008/layout/LinedList"/>
    <dgm:cxn modelId="{725B4CB4-4AB7-4D7E-893E-CD173C353510}" type="presParOf" srcId="{75D8827E-E612-4E90-9865-159664BEB206}" destId="{754585FE-0F48-4D39-91A6-C9D5BB28974E}" srcOrd="9" destOrd="0" presId="urn:microsoft.com/office/officeart/2008/layout/LinedList"/>
    <dgm:cxn modelId="{66A78104-E618-4E09-8450-6C5689F61FF0}" type="presParOf" srcId="{75D8827E-E612-4E90-9865-159664BEB206}" destId="{D80EF6A1-B192-491D-A269-3DA8F17951C8}" srcOrd="10" destOrd="0" presId="urn:microsoft.com/office/officeart/2008/layout/LinedList"/>
    <dgm:cxn modelId="{6B4906E5-A722-4E29-990F-3D5A572E79EA}" type="presParOf" srcId="{D80EF6A1-B192-491D-A269-3DA8F17951C8}" destId="{365D2A4A-894F-4F71-9C56-A3757A223693}" srcOrd="0" destOrd="0" presId="urn:microsoft.com/office/officeart/2008/layout/LinedList"/>
    <dgm:cxn modelId="{5CFB6612-F597-4855-8E0F-E860F7633AEA}" type="presParOf" srcId="{D80EF6A1-B192-491D-A269-3DA8F17951C8}" destId="{E30E4798-DC49-416B-A46B-4EBC164447B9}" srcOrd="1" destOrd="0" presId="urn:microsoft.com/office/officeart/2008/layout/LinedList"/>
    <dgm:cxn modelId="{ACFB60A4-50C3-45CA-838F-A80A268EAF96}" type="presParOf" srcId="{D80EF6A1-B192-491D-A269-3DA8F17951C8}" destId="{98E84556-99BC-4683-87EE-5DB96EAE4430}" srcOrd="2" destOrd="0" presId="urn:microsoft.com/office/officeart/2008/layout/LinedList"/>
    <dgm:cxn modelId="{B9577E78-98FF-4B51-9667-CD35367E26CC}" type="presParOf" srcId="{75D8827E-E612-4E90-9865-159664BEB206}" destId="{0ED91751-EE00-49F4-9E49-97E96AD83DA8}" srcOrd="11" destOrd="0" presId="urn:microsoft.com/office/officeart/2008/layout/LinedList"/>
    <dgm:cxn modelId="{E2D17343-FF24-4EA6-A009-FA66EB544FFA}" type="presParOf" srcId="{75D8827E-E612-4E90-9865-159664BEB206}" destId="{A6F97801-1BD2-45DE-9181-1FEE902A688F}" srcOrd="12"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A0C0224A-C1E9-4653-8FE2-9A8836151C0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80060EA9-3D16-45FE-98D4-BB4B85EE8530}">
      <dgm:prSet phldrT="[Текст]" custT="1"/>
      <dgm:spPr/>
      <dgm:t>
        <a:bodyPr/>
        <a:lstStyle/>
        <a:p>
          <a:r>
            <a:rPr lang="uk-UA" sz="3200" b="0" i="0" noProof="0" dirty="0">
              <a:solidFill>
                <a:schemeClr val="tx1"/>
              </a:solidFill>
            </a:rPr>
            <a:t>Переведення на іншу роботу на тому ж підприємстві, в установі, організації, а також переведення на роботу на інше підприємство, в установу, організацію або в іншу місцевість, хоча б разом з підприємством, установою, організацією, допускається тільки за згодою працівника, за винятком випадків, передбачених у статті 33 цього Кодексу та в інших випадках, передбачених законодавством(ст. 32 КЗпП)</a:t>
          </a:r>
          <a:endParaRPr lang="uk-UA" sz="3200" noProof="0" dirty="0">
            <a:solidFill>
              <a:schemeClr val="tx1"/>
            </a:solidFill>
          </a:endParaRPr>
        </a:p>
      </dgm:t>
    </dgm:pt>
    <dgm:pt modelId="{A4B3BCED-B76F-4BB0-9A5D-664C1A81DD09}" type="parTrans" cxnId="{648D65C7-4557-4B50-B0C4-CA5F81D8C5D7}">
      <dgm:prSet/>
      <dgm:spPr/>
      <dgm:t>
        <a:bodyPr/>
        <a:lstStyle/>
        <a:p>
          <a:endParaRPr lang="ru-UA"/>
        </a:p>
      </dgm:t>
    </dgm:pt>
    <dgm:pt modelId="{CDBA8231-51EE-4AC1-BAD5-3D5F004BA37C}" type="sibTrans" cxnId="{648D65C7-4557-4B50-B0C4-CA5F81D8C5D7}">
      <dgm:prSet/>
      <dgm:spPr/>
      <dgm:t>
        <a:bodyPr/>
        <a:lstStyle/>
        <a:p>
          <a:endParaRPr lang="ru-UA"/>
        </a:p>
      </dgm:t>
    </dgm:pt>
    <dgm:pt modelId="{8443DCA0-70AA-4184-883F-2C4E982138DC}">
      <dgm:prSet phldrT="[Текст]" custT="1"/>
      <dgm:spPr/>
      <dgm:t>
        <a:bodyPr/>
        <a:lstStyle/>
        <a:p>
          <a:r>
            <a:rPr lang="uk-UA" sz="3200" b="0" i="0" noProof="0" dirty="0"/>
            <a:t>Не вважається переведенням на іншу роботу і не потребує згоди працівника переміщення його на тому ж підприємстві, в установі, організації на інше робоче місце, в інший структурний підрозділ у тій же місцевості, доручення роботи на іншому механізмі або агрегаті у межах спеціальності, кваліфікації чи посади, обумовленої трудовим договором. </a:t>
          </a:r>
          <a:endParaRPr lang="uk-UA" sz="3200" noProof="0" dirty="0"/>
        </a:p>
      </dgm:t>
    </dgm:pt>
    <dgm:pt modelId="{8B05BDA8-D225-460A-98A8-0D989B0A9272}" type="parTrans" cxnId="{D8DA762D-C157-433A-B8D4-CFC1616BC3B1}">
      <dgm:prSet/>
      <dgm:spPr/>
      <dgm:t>
        <a:bodyPr/>
        <a:lstStyle/>
        <a:p>
          <a:endParaRPr lang="ru-UA"/>
        </a:p>
      </dgm:t>
    </dgm:pt>
    <dgm:pt modelId="{D6791F52-43E5-4A16-820C-2DD1818B38FE}" type="sibTrans" cxnId="{D8DA762D-C157-433A-B8D4-CFC1616BC3B1}">
      <dgm:prSet/>
      <dgm:spPr/>
      <dgm:t>
        <a:bodyPr/>
        <a:lstStyle/>
        <a:p>
          <a:endParaRPr lang="ru-UA"/>
        </a:p>
      </dgm:t>
    </dgm:pt>
    <dgm:pt modelId="{9EF4F641-DF58-440E-B0F0-3DDDB9E60F36}">
      <dgm:prSet phldrT="[Текст]" custT="1"/>
      <dgm:spPr/>
      <dgm:t>
        <a:bodyPr/>
        <a:lstStyle/>
        <a:p>
          <a:r>
            <a:rPr lang="uk-UA" sz="3200" b="0" i="0" noProof="0" dirty="0">
              <a:solidFill>
                <a:schemeClr val="tx1"/>
              </a:solidFill>
            </a:rPr>
            <a:t>У період дії воєнного стану роботодавець має право перевести працівника на іншу роботу, не обумовлену трудовим договором, без його згоди (крім переведення на роботу в іншу місцевість, на території якої тривають активні бойові дії), якщо така робота не протипоказана працівникові за станом здоров`я, лише для відвернення або ліквідації наслідків бойових дій, а також інших обставин, що ставлять або можуть становити загрозу життю чи нормальним життєвим умовам людей, з оплатою праці за виконану роботу не нижче середньої заробітної плати за попередньою роботою (ст. 3 ЗУ «Про організацію трудових відносин в умовах воєнного стану»)</a:t>
          </a:r>
        </a:p>
      </dgm:t>
    </dgm:pt>
    <dgm:pt modelId="{7D972B9A-4322-42B1-ACA8-202ADDED8E7C}" type="parTrans" cxnId="{628BF1C0-49EE-482F-922E-B58D4BD25DBD}">
      <dgm:prSet/>
      <dgm:spPr/>
      <dgm:t>
        <a:bodyPr/>
        <a:lstStyle/>
        <a:p>
          <a:endParaRPr lang="ru-UA"/>
        </a:p>
      </dgm:t>
    </dgm:pt>
    <dgm:pt modelId="{A5738F10-34F3-4255-8E6C-B24556131F98}" type="sibTrans" cxnId="{628BF1C0-49EE-482F-922E-B58D4BD25DBD}">
      <dgm:prSet/>
      <dgm:spPr/>
      <dgm:t>
        <a:bodyPr/>
        <a:lstStyle/>
        <a:p>
          <a:endParaRPr lang="ru-UA"/>
        </a:p>
      </dgm:t>
    </dgm:pt>
    <dgm:pt modelId="{AE804E38-0F67-44EF-AA02-410D0DD82B65}">
      <dgm:prSet phldrT="[Текст]" custT="1"/>
      <dgm:spPr/>
      <dgm:t>
        <a:bodyPr/>
        <a:lstStyle/>
        <a:p>
          <a:r>
            <a:rPr lang="uk-UA" sz="3200" b="0" i="0" noProof="0" dirty="0"/>
            <a:t>У період дії воєнного стану норми ч. 3 ст. 32 КЗпП та інших законів щодо повідомлення працівника про зміну істотних умов праці </a:t>
          </a:r>
          <a:r>
            <a:rPr lang="uk-UA" sz="3200" b="0" i="0" u="none" noProof="0" dirty="0"/>
            <a:t>не застосовуються</a:t>
          </a:r>
          <a:r>
            <a:rPr lang="uk-UA" sz="3200" b="0" i="0" noProof="0" dirty="0"/>
            <a:t>.</a:t>
          </a:r>
          <a:endParaRPr lang="uk-UA" sz="3200" noProof="0" dirty="0"/>
        </a:p>
      </dgm:t>
    </dgm:pt>
    <dgm:pt modelId="{9B29C48E-AC39-4DEC-B182-1C9697A5A335}" type="parTrans" cxnId="{F7ED46BB-63D2-4315-A738-463A98DB804C}">
      <dgm:prSet/>
      <dgm:spPr/>
      <dgm:t>
        <a:bodyPr/>
        <a:lstStyle/>
        <a:p>
          <a:endParaRPr lang="ru-UA"/>
        </a:p>
      </dgm:t>
    </dgm:pt>
    <dgm:pt modelId="{109062B4-086F-443E-97BD-C998873C163F}" type="sibTrans" cxnId="{F7ED46BB-63D2-4315-A738-463A98DB804C}">
      <dgm:prSet/>
      <dgm:spPr/>
      <dgm:t>
        <a:bodyPr/>
        <a:lstStyle/>
        <a:p>
          <a:endParaRPr lang="ru-UA"/>
        </a:p>
      </dgm:t>
    </dgm:pt>
    <dgm:pt modelId="{8861803B-B188-4646-A940-4168F0577496}" type="pres">
      <dgm:prSet presAssocID="{A0C0224A-C1E9-4653-8FE2-9A8836151C02}" presName="linear" presStyleCnt="0">
        <dgm:presLayoutVars>
          <dgm:animLvl val="lvl"/>
          <dgm:resizeHandles val="exact"/>
        </dgm:presLayoutVars>
      </dgm:prSet>
      <dgm:spPr/>
      <dgm:t>
        <a:bodyPr/>
        <a:lstStyle/>
        <a:p>
          <a:endParaRPr lang="en-US"/>
        </a:p>
      </dgm:t>
    </dgm:pt>
    <dgm:pt modelId="{BA32CA74-C898-4810-8215-DDD291D3907C}" type="pres">
      <dgm:prSet presAssocID="{80060EA9-3D16-45FE-98D4-BB4B85EE8530}" presName="parentText" presStyleLbl="node1" presStyleIdx="0" presStyleCnt="2">
        <dgm:presLayoutVars>
          <dgm:chMax val="0"/>
          <dgm:bulletEnabled val="1"/>
        </dgm:presLayoutVars>
      </dgm:prSet>
      <dgm:spPr/>
      <dgm:t>
        <a:bodyPr/>
        <a:lstStyle/>
        <a:p>
          <a:endParaRPr lang="en-US"/>
        </a:p>
      </dgm:t>
    </dgm:pt>
    <dgm:pt modelId="{F2663DDB-AF79-4774-94A4-303448794070}" type="pres">
      <dgm:prSet presAssocID="{80060EA9-3D16-45FE-98D4-BB4B85EE8530}" presName="childText" presStyleLbl="revTx" presStyleIdx="0" presStyleCnt="2">
        <dgm:presLayoutVars>
          <dgm:bulletEnabled val="1"/>
        </dgm:presLayoutVars>
      </dgm:prSet>
      <dgm:spPr/>
      <dgm:t>
        <a:bodyPr/>
        <a:lstStyle/>
        <a:p>
          <a:endParaRPr lang="en-US"/>
        </a:p>
      </dgm:t>
    </dgm:pt>
    <dgm:pt modelId="{E3960523-7B3D-4AD3-909A-C5A73CE3C4CC}" type="pres">
      <dgm:prSet presAssocID="{9EF4F641-DF58-440E-B0F0-3DDDB9E60F36}" presName="parentText" presStyleLbl="node1" presStyleIdx="1" presStyleCnt="2">
        <dgm:presLayoutVars>
          <dgm:chMax val="0"/>
          <dgm:bulletEnabled val="1"/>
        </dgm:presLayoutVars>
      </dgm:prSet>
      <dgm:spPr/>
      <dgm:t>
        <a:bodyPr/>
        <a:lstStyle/>
        <a:p>
          <a:endParaRPr lang="en-US"/>
        </a:p>
      </dgm:t>
    </dgm:pt>
    <dgm:pt modelId="{16BCC1E7-5607-4CCD-8FC3-347257E7EFEF}" type="pres">
      <dgm:prSet presAssocID="{9EF4F641-DF58-440E-B0F0-3DDDB9E60F36}" presName="childText" presStyleLbl="revTx" presStyleIdx="1" presStyleCnt="2">
        <dgm:presLayoutVars>
          <dgm:bulletEnabled val="1"/>
        </dgm:presLayoutVars>
      </dgm:prSet>
      <dgm:spPr/>
      <dgm:t>
        <a:bodyPr/>
        <a:lstStyle/>
        <a:p>
          <a:endParaRPr lang="en-US"/>
        </a:p>
      </dgm:t>
    </dgm:pt>
  </dgm:ptLst>
  <dgm:cxnLst>
    <dgm:cxn modelId="{F7ED46BB-63D2-4315-A738-463A98DB804C}" srcId="{9EF4F641-DF58-440E-B0F0-3DDDB9E60F36}" destId="{AE804E38-0F67-44EF-AA02-410D0DD82B65}" srcOrd="0" destOrd="0" parTransId="{9B29C48E-AC39-4DEC-B182-1C9697A5A335}" sibTransId="{109062B4-086F-443E-97BD-C998873C163F}"/>
    <dgm:cxn modelId="{A349BC21-AE8E-4E85-AF05-F1EFD0D5FC78}" type="presOf" srcId="{9EF4F641-DF58-440E-B0F0-3DDDB9E60F36}" destId="{E3960523-7B3D-4AD3-909A-C5A73CE3C4CC}" srcOrd="0" destOrd="0" presId="urn:microsoft.com/office/officeart/2005/8/layout/vList2"/>
    <dgm:cxn modelId="{D8DA762D-C157-433A-B8D4-CFC1616BC3B1}" srcId="{80060EA9-3D16-45FE-98D4-BB4B85EE8530}" destId="{8443DCA0-70AA-4184-883F-2C4E982138DC}" srcOrd="0" destOrd="0" parTransId="{8B05BDA8-D225-460A-98A8-0D989B0A9272}" sibTransId="{D6791F52-43E5-4A16-820C-2DD1818B38FE}"/>
    <dgm:cxn modelId="{17BC3CDC-59C3-4886-A1FD-03672C8E201D}" type="presOf" srcId="{80060EA9-3D16-45FE-98D4-BB4B85EE8530}" destId="{BA32CA74-C898-4810-8215-DDD291D3907C}" srcOrd="0" destOrd="0" presId="urn:microsoft.com/office/officeart/2005/8/layout/vList2"/>
    <dgm:cxn modelId="{203606C1-4E68-484F-9B15-9CD3CD779CFB}" type="presOf" srcId="{AE804E38-0F67-44EF-AA02-410D0DD82B65}" destId="{16BCC1E7-5607-4CCD-8FC3-347257E7EFEF}" srcOrd="0" destOrd="0" presId="urn:microsoft.com/office/officeart/2005/8/layout/vList2"/>
    <dgm:cxn modelId="{628BF1C0-49EE-482F-922E-B58D4BD25DBD}" srcId="{A0C0224A-C1E9-4653-8FE2-9A8836151C02}" destId="{9EF4F641-DF58-440E-B0F0-3DDDB9E60F36}" srcOrd="1" destOrd="0" parTransId="{7D972B9A-4322-42B1-ACA8-202ADDED8E7C}" sibTransId="{A5738F10-34F3-4255-8E6C-B24556131F98}"/>
    <dgm:cxn modelId="{8A5857A4-0C8D-41DE-A6B3-C0F1AE7A0429}" type="presOf" srcId="{8443DCA0-70AA-4184-883F-2C4E982138DC}" destId="{F2663DDB-AF79-4774-94A4-303448794070}" srcOrd="0" destOrd="0" presId="urn:microsoft.com/office/officeart/2005/8/layout/vList2"/>
    <dgm:cxn modelId="{1CEA8E63-08F9-410C-B9D5-11785AA619AF}" type="presOf" srcId="{A0C0224A-C1E9-4653-8FE2-9A8836151C02}" destId="{8861803B-B188-4646-A940-4168F0577496}" srcOrd="0" destOrd="0" presId="urn:microsoft.com/office/officeart/2005/8/layout/vList2"/>
    <dgm:cxn modelId="{648D65C7-4557-4B50-B0C4-CA5F81D8C5D7}" srcId="{A0C0224A-C1E9-4653-8FE2-9A8836151C02}" destId="{80060EA9-3D16-45FE-98D4-BB4B85EE8530}" srcOrd="0" destOrd="0" parTransId="{A4B3BCED-B76F-4BB0-9A5D-664C1A81DD09}" sibTransId="{CDBA8231-51EE-4AC1-BAD5-3D5F004BA37C}"/>
    <dgm:cxn modelId="{9AC7C7A2-CEC6-4484-ACDB-26866C05C99A}" type="presParOf" srcId="{8861803B-B188-4646-A940-4168F0577496}" destId="{BA32CA74-C898-4810-8215-DDD291D3907C}" srcOrd="0" destOrd="0" presId="urn:microsoft.com/office/officeart/2005/8/layout/vList2"/>
    <dgm:cxn modelId="{96F5E15F-86A9-44AF-A481-ADBA9194EA64}" type="presParOf" srcId="{8861803B-B188-4646-A940-4168F0577496}" destId="{F2663DDB-AF79-4774-94A4-303448794070}" srcOrd="1" destOrd="0" presId="urn:microsoft.com/office/officeart/2005/8/layout/vList2"/>
    <dgm:cxn modelId="{81E1A7A0-8954-4DA2-BFC3-171B0BBA9B55}" type="presParOf" srcId="{8861803B-B188-4646-A940-4168F0577496}" destId="{E3960523-7B3D-4AD3-909A-C5A73CE3C4CC}" srcOrd="2" destOrd="0" presId="urn:microsoft.com/office/officeart/2005/8/layout/vList2"/>
    <dgm:cxn modelId="{C16250FF-0007-43B4-AA16-5262E99E204F}" type="presParOf" srcId="{8861803B-B188-4646-A940-4168F0577496}" destId="{16BCC1E7-5607-4CCD-8FC3-347257E7EFEF}"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445C263F-915C-4719-B803-201518D9C584}"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ru-UA"/>
        </a:p>
      </dgm:t>
    </dgm:pt>
    <dgm:pt modelId="{9D6F1614-B7E3-4166-A033-BEE74A3ECDA3}">
      <dgm:prSet phldrT="[Текст]"/>
      <dgm:spPr/>
      <dgm:t>
        <a:bodyPr/>
        <a:lstStyle/>
        <a:p>
          <a:r>
            <a:rPr lang="uk-UA" noProof="0" dirty="0"/>
            <a:t>Позов залишити без задоволення</a:t>
          </a:r>
        </a:p>
      </dgm:t>
    </dgm:pt>
    <dgm:pt modelId="{6AD0B29E-C478-46D5-9AB2-A64CC432B625}" type="parTrans" cxnId="{BC53F2DB-333E-451C-895A-67BCAD89A7A1}">
      <dgm:prSet/>
      <dgm:spPr/>
      <dgm:t>
        <a:bodyPr/>
        <a:lstStyle/>
        <a:p>
          <a:endParaRPr lang="ru-UA"/>
        </a:p>
      </dgm:t>
    </dgm:pt>
    <dgm:pt modelId="{A1F976C2-2487-4E6C-9935-B5ECB5A13F21}" type="sibTrans" cxnId="{BC53F2DB-333E-451C-895A-67BCAD89A7A1}">
      <dgm:prSet/>
      <dgm:spPr/>
      <dgm:t>
        <a:bodyPr/>
        <a:lstStyle/>
        <a:p>
          <a:endParaRPr lang="ru-UA"/>
        </a:p>
      </dgm:t>
    </dgm:pt>
    <dgm:pt modelId="{2AE84C96-F1CC-47F6-8A80-263DF5C071D6}" type="pres">
      <dgm:prSet presAssocID="{445C263F-915C-4719-B803-201518D9C584}" presName="rootnode" presStyleCnt="0">
        <dgm:presLayoutVars>
          <dgm:chMax/>
          <dgm:chPref/>
          <dgm:dir/>
          <dgm:animLvl val="lvl"/>
        </dgm:presLayoutVars>
      </dgm:prSet>
      <dgm:spPr/>
      <dgm:t>
        <a:bodyPr/>
        <a:lstStyle/>
        <a:p>
          <a:endParaRPr lang="en-US"/>
        </a:p>
      </dgm:t>
    </dgm:pt>
    <dgm:pt modelId="{027F436E-F60E-4FEB-A238-9BBAAAA1871E}" type="pres">
      <dgm:prSet presAssocID="{9D6F1614-B7E3-4166-A033-BEE74A3ECDA3}" presName="composite" presStyleCnt="0"/>
      <dgm:spPr/>
    </dgm:pt>
    <dgm:pt modelId="{6E862C84-9419-4108-8F83-43E4E180EB19}" type="pres">
      <dgm:prSet presAssocID="{9D6F1614-B7E3-4166-A033-BEE74A3ECDA3}" presName="LShape" presStyleLbl="alignNode1" presStyleIdx="0" presStyleCnt="1"/>
      <dgm:spPr/>
    </dgm:pt>
    <dgm:pt modelId="{00E99759-AF57-4683-B740-A753C1B8EA17}" type="pres">
      <dgm:prSet presAssocID="{9D6F1614-B7E3-4166-A033-BEE74A3ECDA3}" presName="ParentText" presStyleLbl="revTx" presStyleIdx="0" presStyleCnt="1">
        <dgm:presLayoutVars>
          <dgm:chMax val="0"/>
          <dgm:chPref val="0"/>
          <dgm:bulletEnabled val="1"/>
        </dgm:presLayoutVars>
      </dgm:prSet>
      <dgm:spPr/>
      <dgm:t>
        <a:bodyPr/>
        <a:lstStyle/>
        <a:p>
          <a:endParaRPr lang="en-US"/>
        </a:p>
      </dgm:t>
    </dgm:pt>
  </dgm:ptLst>
  <dgm:cxnLst>
    <dgm:cxn modelId="{BC53F2DB-333E-451C-895A-67BCAD89A7A1}" srcId="{445C263F-915C-4719-B803-201518D9C584}" destId="{9D6F1614-B7E3-4166-A033-BEE74A3ECDA3}" srcOrd="0" destOrd="0" parTransId="{6AD0B29E-C478-46D5-9AB2-A64CC432B625}" sibTransId="{A1F976C2-2487-4E6C-9935-B5ECB5A13F21}"/>
    <dgm:cxn modelId="{B1410066-45E4-40EE-BF42-48BB0DEC7201}" type="presOf" srcId="{445C263F-915C-4719-B803-201518D9C584}" destId="{2AE84C96-F1CC-47F6-8A80-263DF5C071D6}" srcOrd="0" destOrd="0" presId="urn:microsoft.com/office/officeart/2009/3/layout/StepUpProcess"/>
    <dgm:cxn modelId="{65464339-8605-44B0-8320-7026246C83F2}" type="presOf" srcId="{9D6F1614-B7E3-4166-A033-BEE74A3ECDA3}" destId="{00E99759-AF57-4683-B740-A753C1B8EA17}" srcOrd="0" destOrd="0" presId="urn:microsoft.com/office/officeart/2009/3/layout/StepUpProcess"/>
    <dgm:cxn modelId="{F1AD7A59-3B96-4B37-B208-E87FA061C43A}" type="presParOf" srcId="{2AE84C96-F1CC-47F6-8A80-263DF5C071D6}" destId="{027F436E-F60E-4FEB-A238-9BBAAAA1871E}" srcOrd="0" destOrd="0" presId="urn:microsoft.com/office/officeart/2009/3/layout/StepUpProcess"/>
    <dgm:cxn modelId="{96407EF1-6486-4FBA-B577-9DC6E014B637}" type="presParOf" srcId="{027F436E-F60E-4FEB-A238-9BBAAAA1871E}" destId="{6E862C84-9419-4108-8F83-43E4E180EB19}" srcOrd="0" destOrd="0" presId="urn:microsoft.com/office/officeart/2009/3/layout/StepUpProcess"/>
    <dgm:cxn modelId="{B9C760C7-6ED4-48C7-A6C4-7A09F1979210}" type="presParOf" srcId="{027F436E-F60E-4FEB-A238-9BBAAAA1871E}" destId="{00E99759-AF57-4683-B740-A753C1B8EA17}"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279095C-514A-4217-8B07-3A603F80396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UA"/>
        </a:p>
      </dgm:t>
    </dgm:pt>
    <dgm:pt modelId="{A292656E-F39F-4EE7-B72E-C406D908D7CE}">
      <dgm:prSet phldrT="[Текст]"/>
      <dgm:spPr/>
      <dgm:t>
        <a:bodyPr/>
        <a:lstStyle/>
        <a:p>
          <a:r>
            <a:rPr lang="uk-UA" b="0" i="0" noProof="0" dirty="0"/>
            <a:t>Заробітна плата виплачується працівникові за фактично відпрацьований час. За відрядної системи заробітна плата виплачується за фактично виконану роботу за встановленими у трудовому договорі з нефіксованим робочим часом відрядними розцінками.</a:t>
          </a:r>
          <a:endParaRPr lang="uk-UA" noProof="0" dirty="0"/>
        </a:p>
      </dgm:t>
    </dgm:pt>
    <dgm:pt modelId="{3645031C-91B4-44FD-BAFB-80D6A4F7A611}" type="parTrans" cxnId="{857EC1AA-B527-4361-A535-9F901924A8E5}">
      <dgm:prSet/>
      <dgm:spPr/>
      <dgm:t>
        <a:bodyPr/>
        <a:lstStyle/>
        <a:p>
          <a:endParaRPr lang="ru-UA"/>
        </a:p>
      </dgm:t>
    </dgm:pt>
    <dgm:pt modelId="{43C04B92-8CD9-47F4-921F-230AD8091E48}" type="sibTrans" cxnId="{857EC1AA-B527-4361-A535-9F901924A8E5}">
      <dgm:prSet/>
      <dgm:spPr/>
      <dgm:t>
        <a:bodyPr/>
        <a:lstStyle/>
        <a:p>
          <a:endParaRPr lang="ru-UA"/>
        </a:p>
      </dgm:t>
    </dgm:pt>
    <dgm:pt modelId="{190751B9-B7EB-4467-B594-4E175A7456E1}">
      <dgm:prSet/>
      <dgm:spPr/>
      <dgm:t>
        <a:bodyPr/>
        <a:lstStyle/>
        <a:p>
          <a:r>
            <a:rPr lang="uk-UA" b="0" i="0" noProof="0" dirty="0"/>
            <a:t>Мінімальна тривалість робочого часу за трудовим договором з нефіксованим робочим часом, протягом календарного місяця становить 32 години. Якщо працівник протягом місяця виконував роботу менше 32 годин, йому повинна бути виплачена заробітна плата не менше ніж за 32 години робочого часу.</a:t>
          </a:r>
        </a:p>
      </dgm:t>
    </dgm:pt>
    <dgm:pt modelId="{4E2AF26F-739E-4BCE-B2D8-62280E75AE6C}" type="parTrans" cxnId="{46E7BE3F-33A9-4F15-96FA-EE282FFDEA55}">
      <dgm:prSet/>
      <dgm:spPr/>
      <dgm:t>
        <a:bodyPr/>
        <a:lstStyle/>
        <a:p>
          <a:endParaRPr lang="ru-UA"/>
        </a:p>
      </dgm:t>
    </dgm:pt>
    <dgm:pt modelId="{AE0E23F2-A92F-4AAD-9258-1678693F4AC9}" type="sibTrans" cxnId="{46E7BE3F-33A9-4F15-96FA-EE282FFDEA55}">
      <dgm:prSet/>
      <dgm:spPr/>
      <dgm:t>
        <a:bodyPr/>
        <a:lstStyle/>
        <a:p>
          <a:endParaRPr lang="ru-UA"/>
        </a:p>
      </dgm:t>
    </dgm:pt>
    <dgm:pt modelId="{6BC0DFF3-D6FE-4F76-B7DC-50392520F170}">
      <dgm:prSet/>
      <dgm:spPr/>
      <dgm:t>
        <a:bodyPr/>
        <a:lstStyle/>
        <a:p>
          <a:r>
            <a:rPr lang="uk-UA" b="0" i="0" noProof="0" dirty="0"/>
            <a:t>У разі ненадання роботодавцем роботи працівникові, заробітна плата за відрядної системи оплати праці протягом місяця повинна бути виплачена у розмірі, не меншому за розмір зарплати працівника відповідної кваліфікації, за погодинною системою, – за 32 години робочого часу.</a:t>
          </a:r>
        </a:p>
      </dgm:t>
    </dgm:pt>
    <dgm:pt modelId="{EFC293E9-0214-4444-B20E-71EB73682C03}" type="parTrans" cxnId="{3904D2C7-3BBA-499A-9932-729F2B07B43D}">
      <dgm:prSet/>
      <dgm:spPr/>
      <dgm:t>
        <a:bodyPr/>
        <a:lstStyle/>
        <a:p>
          <a:endParaRPr lang="ru-UA"/>
        </a:p>
      </dgm:t>
    </dgm:pt>
    <dgm:pt modelId="{CD43064F-BC04-4CA1-8D15-7BA889D5247B}" type="sibTrans" cxnId="{3904D2C7-3BBA-499A-9932-729F2B07B43D}">
      <dgm:prSet/>
      <dgm:spPr/>
      <dgm:t>
        <a:bodyPr/>
        <a:lstStyle/>
        <a:p>
          <a:endParaRPr lang="ru-UA"/>
        </a:p>
      </dgm:t>
    </dgm:pt>
    <dgm:pt modelId="{C1CD491D-25D9-4449-A87C-0E9E2ACFE9F7}" type="pres">
      <dgm:prSet presAssocID="{F279095C-514A-4217-8B07-3A603F803964}" presName="vert0" presStyleCnt="0">
        <dgm:presLayoutVars>
          <dgm:dir/>
          <dgm:animOne val="branch"/>
          <dgm:animLvl val="lvl"/>
        </dgm:presLayoutVars>
      </dgm:prSet>
      <dgm:spPr/>
      <dgm:t>
        <a:bodyPr/>
        <a:lstStyle/>
        <a:p>
          <a:endParaRPr lang="en-US"/>
        </a:p>
      </dgm:t>
    </dgm:pt>
    <dgm:pt modelId="{3B816481-8F4C-4749-81C1-5E6BA3E5A48B}" type="pres">
      <dgm:prSet presAssocID="{A292656E-F39F-4EE7-B72E-C406D908D7CE}" presName="thickLine" presStyleLbl="alignNode1" presStyleIdx="0" presStyleCnt="3"/>
      <dgm:spPr/>
    </dgm:pt>
    <dgm:pt modelId="{E19F52A5-067B-410C-A079-4E58F93A6F30}" type="pres">
      <dgm:prSet presAssocID="{A292656E-F39F-4EE7-B72E-C406D908D7CE}" presName="horz1" presStyleCnt="0"/>
      <dgm:spPr/>
    </dgm:pt>
    <dgm:pt modelId="{781AC98D-C0DC-4C3C-97F3-30E4A99148BE}" type="pres">
      <dgm:prSet presAssocID="{A292656E-F39F-4EE7-B72E-C406D908D7CE}" presName="tx1" presStyleLbl="revTx" presStyleIdx="0" presStyleCnt="3"/>
      <dgm:spPr/>
      <dgm:t>
        <a:bodyPr/>
        <a:lstStyle/>
        <a:p>
          <a:endParaRPr lang="en-US"/>
        </a:p>
      </dgm:t>
    </dgm:pt>
    <dgm:pt modelId="{25B50D2C-41C2-48C6-9922-5B04FD10BC62}" type="pres">
      <dgm:prSet presAssocID="{A292656E-F39F-4EE7-B72E-C406D908D7CE}" presName="vert1" presStyleCnt="0"/>
      <dgm:spPr/>
    </dgm:pt>
    <dgm:pt modelId="{F4E2A415-E3B6-4A8D-87B1-B1311FD21720}" type="pres">
      <dgm:prSet presAssocID="{190751B9-B7EB-4467-B594-4E175A7456E1}" presName="thickLine" presStyleLbl="alignNode1" presStyleIdx="1" presStyleCnt="3"/>
      <dgm:spPr/>
    </dgm:pt>
    <dgm:pt modelId="{8377EEB9-A853-4791-AFCB-441D34D36630}" type="pres">
      <dgm:prSet presAssocID="{190751B9-B7EB-4467-B594-4E175A7456E1}" presName="horz1" presStyleCnt="0"/>
      <dgm:spPr/>
    </dgm:pt>
    <dgm:pt modelId="{F35038C2-CBDA-43AF-80F2-1706F5B1F6C4}" type="pres">
      <dgm:prSet presAssocID="{190751B9-B7EB-4467-B594-4E175A7456E1}" presName="tx1" presStyleLbl="revTx" presStyleIdx="1" presStyleCnt="3"/>
      <dgm:spPr/>
      <dgm:t>
        <a:bodyPr/>
        <a:lstStyle/>
        <a:p>
          <a:endParaRPr lang="en-US"/>
        </a:p>
      </dgm:t>
    </dgm:pt>
    <dgm:pt modelId="{FAF1730B-94BA-41A2-A503-86FF1005A559}" type="pres">
      <dgm:prSet presAssocID="{190751B9-B7EB-4467-B594-4E175A7456E1}" presName="vert1" presStyleCnt="0"/>
      <dgm:spPr/>
    </dgm:pt>
    <dgm:pt modelId="{0AF4CCE7-805C-4D52-BEB5-EF347990F08F}" type="pres">
      <dgm:prSet presAssocID="{6BC0DFF3-D6FE-4F76-B7DC-50392520F170}" presName="thickLine" presStyleLbl="alignNode1" presStyleIdx="2" presStyleCnt="3"/>
      <dgm:spPr/>
    </dgm:pt>
    <dgm:pt modelId="{76185B21-84F6-4B75-A6E0-72E647A05111}" type="pres">
      <dgm:prSet presAssocID="{6BC0DFF3-D6FE-4F76-B7DC-50392520F170}" presName="horz1" presStyleCnt="0"/>
      <dgm:spPr/>
    </dgm:pt>
    <dgm:pt modelId="{0690AD46-6222-472E-AE6D-5120F7631E55}" type="pres">
      <dgm:prSet presAssocID="{6BC0DFF3-D6FE-4F76-B7DC-50392520F170}" presName="tx1" presStyleLbl="revTx" presStyleIdx="2" presStyleCnt="3"/>
      <dgm:spPr/>
      <dgm:t>
        <a:bodyPr/>
        <a:lstStyle/>
        <a:p>
          <a:endParaRPr lang="en-US"/>
        </a:p>
      </dgm:t>
    </dgm:pt>
    <dgm:pt modelId="{2CAC5B27-850B-4D59-B675-D206D8B9CD9B}" type="pres">
      <dgm:prSet presAssocID="{6BC0DFF3-D6FE-4F76-B7DC-50392520F170}" presName="vert1" presStyleCnt="0"/>
      <dgm:spPr/>
    </dgm:pt>
  </dgm:ptLst>
  <dgm:cxnLst>
    <dgm:cxn modelId="{46E7BE3F-33A9-4F15-96FA-EE282FFDEA55}" srcId="{F279095C-514A-4217-8B07-3A603F803964}" destId="{190751B9-B7EB-4467-B594-4E175A7456E1}" srcOrd="1" destOrd="0" parTransId="{4E2AF26F-739E-4BCE-B2D8-62280E75AE6C}" sibTransId="{AE0E23F2-A92F-4AAD-9258-1678693F4AC9}"/>
    <dgm:cxn modelId="{407CED26-DF6B-4668-9293-5053635CBC0D}" type="presOf" srcId="{6BC0DFF3-D6FE-4F76-B7DC-50392520F170}" destId="{0690AD46-6222-472E-AE6D-5120F7631E55}" srcOrd="0" destOrd="0" presId="urn:microsoft.com/office/officeart/2008/layout/LinedList"/>
    <dgm:cxn modelId="{0E6D5DBB-0FEF-46FB-A8EB-77F9C8743417}" type="presOf" srcId="{A292656E-F39F-4EE7-B72E-C406D908D7CE}" destId="{781AC98D-C0DC-4C3C-97F3-30E4A99148BE}" srcOrd="0" destOrd="0" presId="urn:microsoft.com/office/officeart/2008/layout/LinedList"/>
    <dgm:cxn modelId="{90C1AF1A-89A1-4404-AA3D-FDEEFD931967}" type="presOf" srcId="{F279095C-514A-4217-8B07-3A603F803964}" destId="{C1CD491D-25D9-4449-A87C-0E9E2ACFE9F7}" srcOrd="0" destOrd="0" presId="urn:microsoft.com/office/officeart/2008/layout/LinedList"/>
    <dgm:cxn modelId="{3904D2C7-3BBA-499A-9932-729F2B07B43D}" srcId="{F279095C-514A-4217-8B07-3A603F803964}" destId="{6BC0DFF3-D6FE-4F76-B7DC-50392520F170}" srcOrd="2" destOrd="0" parTransId="{EFC293E9-0214-4444-B20E-71EB73682C03}" sibTransId="{CD43064F-BC04-4CA1-8D15-7BA889D5247B}"/>
    <dgm:cxn modelId="{857EC1AA-B527-4361-A535-9F901924A8E5}" srcId="{F279095C-514A-4217-8B07-3A603F803964}" destId="{A292656E-F39F-4EE7-B72E-C406D908D7CE}" srcOrd="0" destOrd="0" parTransId="{3645031C-91B4-44FD-BAFB-80D6A4F7A611}" sibTransId="{43C04B92-8CD9-47F4-921F-230AD8091E48}"/>
    <dgm:cxn modelId="{13273DA0-FE4F-4E85-803C-54642CFEE1CF}" type="presOf" srcId="{190751B9-B7EB-4467-B594-4E175A7456E1}" destId="{F35038C2-CBDA-43AF-80F2-1706F5B1F6C4}" srcOrd="0" destOrd="0" presId="urn:microsoft.com/office/officeart/2008/layout/LinedList"/>
    <dgm:cxn modelId="{A20B1055-B3A5-4D88-8775-B359DC09686C}" type="presParOf" srcId="{C1CD491D-25D9-4449-A87C-0E9E2ACFE9F7}" destId="{3B816481-8F4C-4749-81C1-5E6BA3E5A48B}" srcOrd="0" destOrd="0" presId="urn:microsoft.com/office/officeart/2008/layout/LinedList"/>
    <dgm:cxn modelId="{7C51316B-147A-4AFC-913D-A38002C46191}" type="presParOf" srcId="{C1CD491D-25D9-4449-A87C-0E9E2ACFE9F7}" destId="{E19F52A5-067B-410C-A079-4E58F93A6F30}" srcOrd="1" destOrd="0" presId="urn:microsoft.com/office/officeart/2008/layout/LinedList"/>
    <dgm:cxn modelId="{8441A5D5-3E02-4FB4-845F-1CA0EA1946BC}" type="presParOf" srcId="{E19F52A5-067B-410C-A079-4E58F93A6F30}" destId="{781AC98D-C0DC-4C3C-97F3-30E4A99148BE}" srcOrd="0" destOrd="0" presId="urn:microsoft.com/office/officeart/2008/layout/LinedList"/>
    <dgm:cxn modelId="{980BACE2-CBC0-47DF-ADEB-464F83E5B25B}" type="presParOf" srcId="{E19F52A5-067B-410C-A079-4E58F93A6F30}" destId="{25B50D2C-41C2-48C6-9922-5B04FD10BC62}" srcOrd="1" destOrd="0" presId="urn:microsoft.com/office/officeart/2008/layout/LinedList"/>
    <dgm:cxn modelId="{DA983867-0708-4E8A-BCED-018AF9F69EA9}" type="presParOf" srcId="{C1CD491D-25D9-4449-A87C-0E9E2ACFE9F7}" destId="{F4E2A415-E3B6-4A8D-87B1-B1311FD21720}" srcOrd="2" destOrd="0" presId="urn:microsoft.com/office/officeart/2008/layout/LinedList"/>
    <dgm:cxn modelId="{7250914A-941B-42FB-94A9-9125463B1346}" type="presParOf" srcId="{C1CD491D-25D9-4449-A87C-0E9E2ACFE9F7}" destId="{8377EEB9-A853-4791-AFCB-441D34D36630}" srcOrd="3" destOrd="0" presId="urn:microsoft.com/office/officeart/2008/layout/LinedList"/>
    <dgm:cxn modelId="{B3DB38CC-7FF1-4CCF-AA0A-85F60F498F03}" type="presParOf" srcId="{8377EEB9-A853-4791-AFCB-441D34D36630}" destId="{F35038C2-CBDA-43AF-80F2-1706F5B1F6C4}" srcOrd="0" destOrd="0" presId="urn:microsoft.com/office/officeart/2008/layout/LinedList"/>
    <dgm:cxn modelId="{9E6DE844-EA1E-418D-A284-F2F5F60D266C}" type="presParOf" srcId="{8377EEB9-A853-4791-AFCB-441D34D36630}" destId="{FAF1730B-94BA-41A2-A503-86FF1005A559}" srcOrd="1" destOrd="0" presId="urn:microsoft.com/office/officeart/2008/layout/LinedList"/>
    <dgm:cxn modelId="{034B213E-789B-4C02-A75F-CDAEC709ABF6}" type="presParOf" srcId="{C1CD491D-25D9-4449-A87C-0E9E2ACFE9F7}" destId="{0AF4CCE7-805C-4D52-BEB5-EF347990F08F}" srcOrd="4" destOrd="0" presId="urn:microsoft.com/office/officeart/2008/layout/LinedList"/>
    <dgm:cxn modelId="{FDD8CEF5-ED87-462E-99C1-3A21EC24493A}" type="presParOf" srcId="{C1CD491D-25D9-4449-A87C-0E9E2ACFE9F7}" destId="{76185B21-84F6-4B75-A6E0-72E647A05111}" srcOrd="5" destOrd="0" presId="urn:microsoft.com/office/officeart/2008/layout/LinedList"/>
    <dgm:cxn modelId="{31B34942-71C9-486B-8553-A0D13029BFF3}" type="presParOf" srcId="{76185B21-84F6-4B75-A6E0-72E647A05111}" destId="{0690AD46-6222-472E-AE6D-5120F7631E55}" srcOrd="0" destOrd="0" presId="urn:microsoft.com/office/officeart/2008/layout/LinedList"/>
    <dgm:cxn modelId="{49A88E8A-9F4D-437D-A328-89028B70C358}" type="presParOf" srcId="{76185B21-84F6-4B75-A6E0-72E647A05111}" destId="{2CAC5B27-850B-4D59-B675-D206D8B9CD9B}"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279095C-514A-4217-8B07-3A603F80396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ru-UA"/>
        </a:p>
      </dgm:t>
    </dgm:pt>
    <dgm:pt modelId="{A292656E-F39F-4EE7-B72E-C406D908D7CE}">
      <dgm:prSet phldrT="[Текст]"/>
      <dgm:spPr/>
      <dgm:t>
        <a:bodyPr/>
        <a:lstStyle/>
        <a:p>
          <a:r>
            <a:rPr lang="uk-UA" b="0" i="0" noProof="0" dirty="0">
              <a:solidFill>
                <a:schemeClr val="tx1"/>
              </a:solidFill>
            </a:rPr>
            <a:t>Гнучкий режим робочого часу - це форма організації праці, за якою допускається встановлення іншого режиму роботи, ніж визначений правилами внутрішнього трудового розпорядку, за умови дотримання встановленої денної, тижневої чи іншої, встановленої на певний обліковий період (тиждень, місяць, квартал, рік тощо), норми тривалості робочого часу.</a:t>
          </a:r>
          <a:endParaRPr lang="uk-UA" noProof="0" dirty="0">
            <a:solidFill>
              <a:schemeClr val="tx1"/>
            </a:solidFill>
          </a:endParaRPr>
        </a:p>
      </dgm:t>
    </dgm:pt>
    <dgm:pt modelId="{3645031C-91B4-44FD-BAFB-80D6A4F7A611}" type="parTrans" cxnId="{857EC1AA-B527-4361-A535-9F901924A8E5}">
      <dgm:prSet/>
      <dgm:spPr/>
      <dgm:t>
        <a:bodyPr/>
        <a:lstStyle/>
        <a:p>
          <a:endParaRPr lang="ru-UA"/>
        </a:p>
      </dgm:t>
    </dgm:pt>
    <dgm:pt modelId="{43C04B92-8CD9-47F4-921F-230AD8091E48}" type="sibTrans" cxnId="{857EC1AA-B527-4361-A535-9F901924A8E5}">
      <dgm:prSet/>
      <dgm:spPr/>
      <dgm:t>
        <a:bodyPr/>
        <a:lstStyle/>
        <a:p>
          <a:endParaRPr lang="ru-UA"/>
        </a:p>
      </dgm:t>
    </dgm:pt>
    <dgm:pt modelId="{7A13D4E7-FDFA-4FEA-84BA-364F0E2E04E8}">
      <dgm:prSet/>
      <dgm:spPr/>
      <dgm:t>
        <a:bodyPr/>
        <a:lstStyle/>
        <a:p>
          <a:pPr algn="ctr"/>
          <a:r>
            <a:rPr lang="uk-UA" noProof="0" dirty="0"/>
            <a:t>Ст. 60 КЗпП</a:t>
          </a:r>
        </a:p>
      </dgm:t>
    </dgm:pt>
    <dgm:pt modelId="{1BC6789F-18CE-4248-A9F5-1A41C4059092}" type="parTrans" cxnId="{D6643328-D589-43C2-9501-C98A1F1744D0}">
      <dgm:prSet/>
      <dgm:spPr/>
      <dgm:t>
        <a:bodyPr/>
        <a:lstStyle/>
        <a:p>
          <a:endParaRPr lang="ru-UA"/>
        </a:p>
      </dgm:t>
    </dgm:pt>
    <dgm:pt modelId="{C622299C-716E-4B59-93BB-985AC2FEC4A6}" type="sibTrans" cxnId="{D6643328-D589-43C2-9501-C98A1F1744D0}">
      <dgm:prSet/>
      <dgm:spPr/>
      <dgm:t>
        <a:bodyPr/>
        <a:lstStyle/>
        <a:p>
          <a:endParaRPr lang="ru-UA"/>
        </a:p>
      </dgm:t>
    </dgm:pt>
    <dgm:pt modelId="{B7C17DCC-608A-4418-B80A-35FB626E1598}" type="pres">
      <dgm:prSet presAssocID="{F279095C-514A-4217-8B07-3A603F803964}" presName="Name0" presStyleCnt="0">
        <dgm:presLayoutVars>
          <dgm:dir/>
          <dgm:animLvl val="lvl"/>
          <dgm:resizeHandles val="exact"/>
        </dgm:presLayoutVars>
      </dgm:prSet>
      <dgm:spPr/>
      <dgm:t>
        <a:bodyPr/>
        <a:lstStyle/>
        <a:p>
          <a:endParaRPr lang="en-US"/>
        </a:p>
      </dgm:t>
    </dgm:pt>
    <dgm:pt modelId="{11F03A19-649C-4514-A0DC-1474DF463C78}" type="pres">
      <dgm:prSet presAssocID="{A292656E-F39F-4EE7-B72E-C406D908D7CE}" presName="composite" presStyleCnt="0"/>
      <dgm:spPr/>
    </dgm:pt>
    <dgm:pt modelId="{C01D0633-22A5-490D-9A43-9C18C48CDD52}" type="pres">
      <dgm:prSet presAssocID="{A292656E-F39F-4EE7-B72E-C406D908D7CE}" presName="parTx" presStyleLbl="alignNode1" presStyleIdx="0" presStyleCnt="1" custLinFactNeighborX="-4055" custLinFactNeighborY="-1082">
        <dgm:presLayoutVars>
          <dgm:chMax val="0"/>
          <dgm:chPref val="0"/>
          <dgm:bulletEnabled val="1"/>
        </dgm:presLayoutVars>
      </dgm:prSet>
      <dgm:spPr/>
      <dgm:t>
        <a:bodyPr/>
        <a:lstStyle/>
        <a:p>
          <a:endParaRPr lang="en-US"/>
        </a:p>
      </dgm:t>
    </dgm:pt>
    <dgm:pt modelId="{059DAF36-FAA5-451D-8428-5A373FF99DC5}" type="pres">
      <dgm:prSet presAssocID="{A292656E-F39F-4EE7-B72E-C406D908D7CE}" presName="desTx" presStyleLbl="alignAccFollowNode1" presStyleIdx="0" presStyleCnt="1" custLinFactNeighborX="-7246" custLinFactNeighborY="-4158">
        <dgm:presLayoutVars>
          <dgm:bulletEnabled val="1"/>
        </dgm:presLayoutVars>
      </dgm:prSet>
      <dgm:spPr/>
      <dgm:t>
        <a:bodyPr/>
        <a:lstStyle/>
        <a:p>
          <a:endParaRPr lang="en-US"/>
        </a:p>
      </dgm:t>
    </dgm:pt>
  </dgm:ptLst>
  <dgm:cxnLst>
    <dgm:cxn modelId="{D6643328-D589-43C2-9501-C98A1F1744D0}" srcId="{A292656E-F39F-4EE7-B72E-C406D908D7CE}" destId="{7A13D4E7-FDFA-4FEA-84BA-364F0E2E04E8}" srcOrd="0" destOrd="0" parTransId="{1BC6789F-18CE-4248-A9F5-1A41C4059092}" sibTransId="{C622299C-716E-4B59-93BB-985AC2FEC4A6}"/>
    <dgm:cxn modelId="{357730E9-7FF5-4A0C-838B-F24CA540A950}" type="presOf" srcId="{A292656E-F39F-4EE7-B72E-C406D908D7CE}" destId="{C01D0633-22A5-490D-9A43-9C18C48CDD52}" srcOrd="0" destOrd="0" presId="urn:microsoft.com/office/officeart/2005/8/layout/hList1"/>
    <dgm:cxn modelId="{845E1ADF-36CD-45E0-9339-F4DFCF23A0E1}" type="presOf" srcId="{F279095C-514A-4217-8B07-3A603F803964}" destId="{B7C17DCC-608A-4418-B80A-35FB626E1598}" srcOrd="0" destOrd="0" presId="urn:microsoft.com/office/officeart/2005/8/layout/hList1"/>
    <dgm:cxn modelId="{857EC1AA-B527-4361-A535-9F901924A8E5}" srcId="{F279095C-514A-4217-8B07-3A603F803964}" destId="{A292656E-F39F-4EE7-B72E-C406D908D7CE}" srcOrd="0" destOrd="0" parTransId="{3645031C-91B4-44FD-BAFB-80D6A4F7A611}" sibTransId="{43C04B92-8CD9-47F4-921F-230AD8091E48}"/>
    <dgm:cxn modelId="{DB7F730A-3413-4F15-859D-C084C3B892EA}" type="presOf" srcId="{7A13D4E7-FDFA-4FEA-84BA-364F0E2E04E8}" destId="{059DAF36-FAA5-451D-8428-5A373FF99DC5}" srcOrd="0" destOrd="0" presId="urn:microsoft.com/office/officeart/2005/8/layout/hList1"/>
    <dgm:cxn modelId="{D268469B-8A6D-4346-8185-319CBB5DF12B}" type="presParOf" srcId="{B7C17DCC-608A-4418-B80A-35FB626E1598}" destId="{11F03A19-649C-4514-A0DC-1474DF463C78}" srcOrd="0" destOrd="0" presId="urn:microsoft.com/office/officeart/2005/8/layout/hList1"/>
    <dgm:cxn modelId="{776C8155-7177-44E5-9F5E-31FEA770D7DF}" type="presParOf" srcId="{11F03A19-649C-4514-A0DC-1474DF463C78}" destId="{C01D0633-22A5-490D-9A43-9C18C48CDD52}" srcOrd="0" destOrd="0" presId="urn:microsoft.com/office/officeart/2005/8/layout/hList1"/>
    <dgm:cxn modelId="{B0B5562C-E1B0-488B-9A7D-ED0325F3CF54}" type="presParOf" srcId="{11F03A19-649C-4514-A0DC-1474DF463C78}" destId="{059DAF36-FAA5-451D-8428-5A373FF99DC5}"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279095C-514A-4217-8B07-3A603F80396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ru-UA"/>
        </a:p>
      </dgm:t>
    </dgm:pt>
    <dgm:pt modelId="{A292656E-F39F-4EE7-B72E-C406D908D7CE}">
      <dgm:prSet phldrT="[Текст]"/>
      <dgm:spPr/>
      <dgm:t>
        <a:bodyPr/>
        <a:lstStyle/>
        <a:p>
          <a:r>
            <a:rPr lang="uk-UA" b="0" i="0" noProof="0" dirty="0">
              <a:solidFill>
                <a:schemeClr val="tx1"/>
              </a:solidFill>
            </a:rPr>
            <a:t>Саморегулювання працівником часу початку, закінчення роботи та тривалості робочого часу упродовж робочого дня, на визначений строк або безстроково</a:t>
          </a:r>
          <a:endParaRPr lang="uk-UA" noProof="0" dirty="0">
            <a:solidFill>
              <a:schemeClr val="tx1"/>
            </a:solidFill>
          </a:endParaRPr>
        </a:p>
      </dgm:t>
    </dgm:pt>
    <dgm:pt modelId="{3645031C-91B4-44FD-BAFB-80D6A4F7A611}" type="parTrans" cxnId="{857EC1AA-B527-4361-A535-9F901924A8E5}">
      <dgm:prSet/>
      <dgm:spPr/>
      <dgm:t>
        <a:bodyPr/>
        <a:lstStyle/>
        <a:p>
          <a:endParaRPr lang="ru-UA"/>
        </a:p>
      </dgm:t>
    </dgm:pt>
    <dgm:pt modelId="{43C04B92-8CD9-47F4-921F-230AD8091E48}" type="sibTrans" cxnId="{857EC1AA-B527-4361-A535-9F901924A8E5}">
      <dgm:prSet/>
      <dgm:spPr/>
      <dgm:t>
        <a:bodyPr/>
        <a:lstStyle/>
        <a:p>
          <a:endParaRPr lang="ru-UA"/>
        </a:p>
      </dgm:t>
    </dgm:pt>
    <dgm:pt modelId="{7E38AE9B-368D-4F50-A9AF-D543909AD5B8}">
      <dgm:prSet phldrT="[Текст]"/>
      <dgm:spPr/>
      <dgm:t>
        <a:bodyPr/>
        <a:lstStyle/>
        <a:p>
          <a:r>
            <a:rPr lang="uk-UA" b="0" i="0" noProof="0" dirty="0">
              <a:solidFill>
                <a:schemeClr val="tx1"/>
              </a:solidFill>
            </a:rPr>
            <a:t>За письмовим погодженням між працівником і роботодавцем</a:t>
          </a:r>
          <a:endParaRPr lang="uk-UA" noProof="0" dirty="0">
            <a:solidFill>
              <a:schemeClr val="tx1"/>
            </a:solidFill>
          </a:endParaRPr>
        </a:p>
      </dgm:t>
    </dgm:pt>
    <dgm:pt modelId="{E7650CEC-041B-48C6-8744-F778AE9D407A}" type="parTrans" cxnId="{DEE60460-23E5-40CF-95F5-80BDB6F33C67}">
      <dgm:prSet/>
      <dgm:spPr/>
      <dgm:t>
        <a:bodyPr/>
        <a:lstStyle/>
        <a:p>
          <a:endParaRPr lang="ru-UA"/>
        </a:p>
      </dgm:t>
    </dgm:pt>
    <dgm:pt modelId="{C235BACF-F31A-464C-8BDE-7E9C0712B8D5}" type="sibTrans" cxnId="{DEE60460-23E5-40CF-95F5-80BDB6F33C67}">
      <dgm:prSet/>
      <dgm:spPr/>
      <dgm:t>
        <a:bodyPr/>
        <a:lstStyle/>
        <a:p>
          <a:endParaRPr lang="ru-UA"/>
        </a:p>
      </dgm:t>
    </dgm:pt>
    <dgm:pt modelId="{17071498-8122-48AA-BC1B-8848E09E48E3}">
      <dgm:prSet phldrT="[Текст]"/>
      <dgm:spPr/>
      <dgm:t>
        <a:bodyPr/>
        <a:lstStyle/>
        <a:p>
          <a:r>
            <a:rPr lang="uk-UA" b="0" i="0" noProof="0" dirty="0">
              <a:solidFill>
                <a:schemeClr val="tx1"/>
              </a:solidFill>
            </a:rPr>
            <a:t>Зараз може встановлюватися наказом (розпорядженням) роботодавця. З ним працівник ознайомлюється протягом двох днів з дня його прийняття, але до запровадження гнучкого режиму робочого часу</a:t>
          </a:r>
          <a:endParaRPr lang="uk-UA" noProof="0" dirty="0">
            <a:solidFill>
              <a:schemeClr val="tx1"/>
            </a:solidFill>
          </a:endParaRPr>
        </a:p>
      </dgm:t>
    </dgm:pt>
    <dgm:pt modelId="{5EE15B25-F5B2-44B9-83A5-CD6562090A6E}" type="parTrans" cxnId="{C419C45C-AF4A-4C7E-8777-EEEBF36A5829}">
      <dgm:prSet/>
      <dgm:spPr/>
      <dgm:t>
        <a:bodyPr/>
        <a:lstStyle/>
        <a:p>
          <a:endParaRPr lang="ru-UA"/>
        </a:p>
      </dgm:t>
    </dgm:pt>
    <dgm:pt modelId="{75A524E5-7922-438A-9F45-E07870622940}" type="sibTrans" cxnId="{C419C45C-AF4A-4C7E-8777-EEEBF36A5829}">
      <dgm:prSet/>
      <dgm:spPr/>
      <dgm:t>
        <a:bodyPr/>
        <a:lstStyle/>
        <a:p>
          <a:endParaRPr lang="ru-UA"/>
        </a:p>
      </dgm:t>
    </dgm:pt>
    <dgm:pt modelId="{B7C17DCC-608A-4418-B80A-35FB626E1598}" type="pres">
      <dgm:prSet presAssocID="{F279095C-514A-4217-8B07-3A603F803964}" presName="Name0" presStyleCnt="0">
        <dgm:presLayoutVars>
          <dgm:dir/>
          <dgm:animLvl val="lvl"/>
          <dgm:resizeHandles val="exact"/>
        </dgm:presLayoutVars>
      </dgm:prSet>
      <dgm:spPr/>
      <dgm:t>
        <a:bodyPr/>
        <a:lstStyle/>
        <a:p>
          <a:endParaRPr lang="en-US"/>
        </a:p>
      </dgm:t>
    </dgm:pt>
    <dgm:pt modelId="{11F03A19-649C-4514-A0DC-1474DF463C78}" type="pres">
      <dgm:prSet presAssocID="{A292656E-F39F-4EE7-B72E-C406D908D7CE}" presName="composite" presStyleCnt="0"/>
      <dgm:spPr/>
    </dgm:pt>
    <dgm:pt modelId="{C01D0633-22A5-490D-9A43-9C18C48CDD52}" type="pres">
      <dgm:prSet presAssocID="{A292656E-F39F-4EE7-B72E-C406D908D7CE}" presName="parTx" presStyleLbl="alignNode1" presStyleIdx="0" presStyleCnt="3" custScaleY="151088">
        <dgm:presLayoutVars>
          <dgm:chMax val="0"/>
          <dgm:chPref val="0"/>
          <dgm:bulletEnabled val="1"/>
        </dgm:presLayoutVars>
      </dgm:prSet>
      <dgm:spPr/>
      <dgm:t>
        <a:bodyPr/>
        <a:lstStyle/>
        <a:p>
          <a:endParaRPr lang="en-US"/>
        </a:p>
      </dgm:t>
    </dgm:pt>
    <dgm:pt modelId="{059DAF36-FAA5-451D-8428-5A373FF99DC5}" type="pres">
      <dgm:prSet presAssocID="{A292656E-F39F-4EE7-B72E-C406D908D7CE}" presName="desTx" presStyleLbl="alignAccFollowNode1" presStyleIdx="0" presStyleCnt="3">
        <dgm:presLayoutVars>
          <dgm:bulletEnabled val="1"/>
        </dgm:presLayoutVars>
      </dgm:prSet>
      <dgm:spPr/>
    </dgm:pt>
    <dgm:pt modelId="{4C5C2C7A-FEF6-478E-A080-3BF656CCA065}" type="pres">
      <dgm:prSet presAssocID="{43C04B92-8CD9-47F4-921F-230AD8091E48}" presName="space" presStyleCnt="0"/>
      <dgm:spPr/>
    </dgm:pt>
    <dgm:pt modelId="{7E4CA41E-7AE9-4B39-BDBB-09A875A103FF}" type="pres">
      <dgm:prSet presAssocID="{7E38AE9B-368D-4F50-A9AF-D543909AD5B8}" presName="composite" presStyleCnt="0"/>
      <dgm:spPr/>
    </dgm:pt>
    <dgm:pt modelId="{BAA7C6FA-7B55-46C5-A71D-12306FF1F3A4}" type="pres">
      <dgm:prSet presAssocID="{7E38AE9B-368D-4F50-A9AF-D543909AD5B8}" presName="parTx" presStyleLbl="alignNode1" presStyleIdx="1" presStyleCnt="3" custScaleY="133204">
        <dgm:presLayoutVars>
          <dgm:chMax val="0"/>
          <dgm:chPref val="0"/>
          <dgm:bulletEnabled val="1"/>
        </dgm:presLayoutVars>
      </dgm:prSet>
      <dgm:spPr/>
      <dgm:t>
        <a:bodyPr/>
        <a:lstStyle/>
        <a:p>
          <a:endParaRPr lang="en-US"/>
        </a:p>
      </dgm:t>
    </dgm:pt>
    <dgm:pt modelId="{6ACF5CFA-F0D0-4196-AB14-D2CB369C46EC}" type="pres">
      <dgm:prSet presAssocID="{7E38AE9B-368D-4F50-A9AF-D543909AD5B8}" presName="desTx" presStyleLbl="alignAccFollowNode1" presStyleIdx="1" presStyleCnt="3">
        <dgm:presLayoutVars>
          <dgm:bulletEnabled val="1"/>
        </dgm:presLayoutVars>
      </dgm:prSet>
      <dgm:spPr/>
    </dgm:pt>
    <dgm:pt modelId="{0E0A190E-9078-42FD-B634-A87FF139B754}" type="pres">
      <dgm:prSet presAssocID="{C235BACF-F31A-464C-8BDE-7E9C0712B8D5}" presName="space" presStyleCnt="0"/>
      <dgm:spPr/>
    </dgm:pt>
    <dgm:pt modelId="{BA7D3876-7CC2-457E-BB12-A95A7D3E91FC}" type="pres">
      <dgm:prSet presAssocID="{17071498-8122-48AA-BC1B-8848E09E48E3}" presName="composite" presStyleCnt="0"/>
      <dgm:spPr/>
    </dgm:pt>
    <dgm:pt modelId="{01D85BCF-670F-43B4-B168-457EC0B2D183}" type="pres">
      <dgm:prSet presAssocID="{17071498-8122-48AA-BC1B-8848E09E48E3}" presName="parTx" presStyleLbl="alignNode1" presStyleIdx="2" presStyleCnt="3" custScaleY="126326">
        <dgm:presLayoutVars>
          <dgm:chMax val="0"/>
          <dgm:chPref val="0"/>
          <dgm:bulletEnabled val="1"/>
        </dgm:presLayoutVars>
      </dgm:prSet>
      <dgm:spPr/>
      <dgm:t>
        <a:bodyPr/>
        <a:lstStyle/>
        <a:p>
          <a:endParaRPr lang="en-US"/>
        </a:p>
      </dgm:t>
    </dgm:pt>
    <dgm:pt modelId="{22FE341C-4338-45AE-B69F-240E20B5C692}" type="pres">
      <dgm:prSet presAssocID="{17071498-8122-48AA-BC1B-8848E09E48E3}" presName="desTx" presStyleLbl="alignAccFollowNode1" presStyleIdx="2" presStyleCnt="3">
        <dgm:presLayoutVars>
          <dgm:bulletEnabled val="1"/>
        </dgm:presLayoutVars>
      </dgm:prSet>
      <dgm:spPr/>
    </dgm:pt>
  </dgm:ptLst>
  <dgm:cxnLst>
    <dgm:cxn modelId="{DEE60460-23E5-40CF-95F5-80BDB6F33C67}" srcId="{F279095C-514A-4217-8B07-3A603F803964}" destId="{7E38AE9B-368D-4F50-A9AF-D543909AD5B8}" srcOrd="1" destOrd="0" parTransId="{E7650CEC-041B-48C6-8744-F778AE9D407A}" sibTransId="{C235BACF-F31A-464C-8BDE-7E9C0712B8D5}"/>
    <dgm:cxn modelId="{C419C45C-AF4A-4C7E-8777-EEEBF36A5829}" srcId="{F279095C-514A-4217-8B07-3A603F803964}" destId="{17071498-8122-48AA-BC1B-8848E09E48E3}" srcOrd="2" destOrd="0" parTransId="{5EE15B25-F5B2-44B9-83A5-CD6562090A6E}" sibTransId="{75A524E5-7922-438A-9F45-E07870622940}"/>
    <dgm:cxn modelId="{B844E2FC-1211-42A4-8D68-CE15429FD859}" type="presOf" srcId="{7E38AE9B-368D-4F50-A9AF-D543909AD5B8}" destId="{BAA7C6FA-7B55-46C5-A71D-12306FF1F3A4}" srcOrd="0" destOrd="0" presId="urn:microsoft.com/office/officeart/2005/8/layout/hList1"/>
    <dgm:cxn modelId="{845E1ADF-36CD-45E0-9339-F4DFCF23A0E1}" type="presOf" srcId="{F279095C-514A-4217-8B07-3A603F803964}" destId="{B7C17DCC-608A-4418-B80A-35FB626E1598}" srcOrd="0" destOrd="0" presId="urn:microsoft.com/office/officeart/2005/8/layout/hList1"/>
    <dgm:cxn modelId="{F5E38BE1-E941-46AD-AE22-8925EE6C3CF9}" type="presOf" srcId="{17071498-8122-48AA-BC1B-8848E09E48E3}" destId="{01D85BCF-670F-43B4-B168-457EC0B2D183}" srcOrd="0" destOrd="0" presId="urn:microsoft.com/office/officeart/2005/8/layout/hList1"/>
    <dgm:cxn modelId="{357730E9-7FF5-4A0C-838B-F24CA540A950}" type="presOf" srcId="{A292656E-F39F-4EE7-B72E-C406D908D7CE}" destId="{C01D0633-22A5-490D-9A43-9C18C48CDD52}" srcOrd="0" destOrd="0" presId="urn:microsoft.com/office/officeart/2005/8/layout/hList1"/>
    <dgm:cxn modelId="{857EC1AA-B527-4361-A535-9F901924A8E5}" srcId="{F279095C-514A-4217-8B07-3A603F803964}" destId="{A292656E-F39F-4EE7-B72E-C406D908D7CE}" srcOrd="0" destOrd="0" parTransId="{3645031C-91B4-44FD-BAFB-80D6A4F7A611}" sibTransId="{43C04B92-8CD9-47F4-921F-230AD8091E48}"/>
    <dgm:cxn modelId="{D268469B-8A6D-4346-8185-319CBB5DF12B}" type="presParOf" srcId="{B7C17DCC-608A-4418-B80A-35FB626E1598}" destId="{11F03A19-649C-4514-A0DC-1474DF463C78}" srcOrd="0" destOrd="0" presId="urn:microsoft.com/office/officeart/2005/8/layout/hList1"/>
    <dgm:cxn modelId="{776C8155-7177-44E5-9F5E-31FEA770D7DF}" type="presParOf" srcId="{11F03A19-649C-4514-A0DC-1474DF463C78}" destId="{C01D0633-22A5-490D-9A43-9C18C48CDD52}" srcOrd="0" destOrd="0" presId="urn:microsoft.com/office/officeart/2005/8/layout/hList1"/>
    <dgm:cxn modelId="{B0B5562C-E1B0-488B-9A7D-ED0325F3CF54}" type="presParOf" srcId="{11F03A19-649C-4514-A0DC-1474DF463C78}" destId="{059DAF36-FAA5-451D-8428-5A373FF99DC5}" srcOrd="1" destOrd="0" presId="urn:microsoft.com/office/officeart/2005/8/layout/hList1"/>
    <dgm:cxn modelId="{C6AA6451-198E-4F98-A784-8385E1436C60}" type="presParOf" srcId="{B7C17DCC-608A-4418-B80A-35FB626E1598}" destId="{4C5C2C7A-FEF6-478E-A080-3BF656CCA065}" srcOrd="1" destOrd="0" presId="urn:microsoft.com/office/officeart/2005/8/layout/hList1"/>
    <dgm:cxn modelId="{94011BC5-F20A-4478-ABC0-A26E3CD9141F}" type="presParOf" srcId="{B7C17DCC-608A-4418-B80A-35FB626E1598}" destId="{7E4CA41E-7AE9-4B39-BDBB-09A875A103FF}" srcOrd="2" destOrd="0" presId="urn:microsoft.com/office/officeart/2005/8/layout/hList1"/>
    <dgm:cxn modelId="{518AB1DA-1906-446D-B976-23C160BAC70A}" type="presParOf" srcId="{7E4CA41E-7AE9-4B39-BDBB-09A875A103FF}" destId="{BAA7C6FA-7B55-46C5-A71D-12306FF1F3A4}" srcOrd="0" destOrd="0" presId="urn:microsoft.com/office/officeart/2005/8/layout/hList1"/>
    <dgm:cxn modelId="{3FC83811-4773-43F6-82C9-268A6BDBB9E7}" type="presParOf" srcId="{7E4CA41E-7AE9-4B39-BDBB-09A875A103FF}" destId="{6ACF5CFA-F0D0-4196-AB14-D2CB369C46EC}" srcOrd="1" destOrd="0" presId="urn:microsoft.com/office/officeart/2005/8/layout/hList1"/>
    <dgm:cxn modelId="{AAB770CF-3E5C-4862-8A1C-08A5B0251253}" type="presParOf" srcId="{B7C17DCC-608A-4418-B80A-35FB626E1598}" destId="{0E0A190E-9078-42FD-B634-A87FF139B754}" srcOrd="3" destOrd="0" presId="urn:microsoft.com/office/officeart/2005/8/layout/hList1"/>
    <dgm:cxn modelId="{E66A489F-F48C-4CDD-8CF9-1A5C3829293D}" type="presParOf" srcId="{B7C17DCC-608A-4418-B80A-35FB626E1598}" destId="{BA7D3876-7CC2-457E-BB12-A95A7D3E91FC}" srcOrd="4" destOrd="0" presId="urn:microsoft.com/office/officeart/2005/8/layout/hList1"/>
    <dgm:cxn modelId="{AD965AF9-A283-4020-9BAA-BE57B05CB938}" type="presParOf" srcId="{BA7D3876-7CC2-457E-BB12-A95A7D3E91FC}" destId="{01D85BCF-670F-43B4-B168-457EC0B2D183}" srcOrd="0" destOrd="0" presId="urn:microsoft.com/office/officeart/2005/8/layout/hList1"/>
    <dgm:cxn modelId="{5C565DA8-FDD0-47CB-B31D-BAEB4AC4BEAE}" type="presParOf" srcId="{BA7D3876-7CC2-457E-BB12-A95A7D3E91FC}" destId="{22FE341C-4338-45AE-B69F-240E20B5C692}"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279095C-514A-4217-8B07-3A603F80396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ru-UA"/>
        </a:p>
      </dgm:t>
    </dgm:pt>
    <dgm:pt modelId="{A292656E-F39F-4EE7-B72E-C406D908D7CE}">
      <dgm:prSet phldrT="[Текст]"/>
      <dgm:spPr/>
      <dgm:t>
        <a:bodyPr/>
        <a:lstStyle/>
        <a:p>
          <a:r>
            <a:rPr lang="uk-UA" b="0" i="0" noProof="0" dirty="0">
              <a:solidFill>
                <a:schemeClr val="tx1"/>
              </a:solidFill>
            </a:rPr>
            <a:t>Фіксований час, протягом якого працівник обов’язково повинен бути присутнім на робочому місці та виконувати свої посадові обов’язки. При цьому може передбачатися поділ робочого дня на частини;</a:t>
          </a:r>
          <a:endParaRPr lang="uk-UA" noProof="0" dirty="0">
            <a:solidFill>
              <a:schemeClr val="tx1"/>
            </a:solidFill>
          </a:endParaRPr>
        </a:p>
      </dgm:t>
    </dgm:pt>
    <dgm:pt modelId="{3645031C-91B4-44FD-BAFB-80D6A4F7A611}" type="parTrans" cxnId="{857EC1AA-B527-4361-A535-9F901924A8E5}">
      <dgm:prSet/>
      <dgm:spPr/>
      <dgm:t>
        <a:bodyPr/>
        <a:lstStyle/>
        <a:p>
          <a:endParaRPr lang="ru-UA"/>
        </a:p>
      </dgm:t>
    </dgm:pt>
    <dgm:pt modelId="{43C04B92-8CD9-47F4-921F-230AD8091E48}" type="sibTrans" cxnId="{857EC1AA-B527-4361-A535-9F901924A8E5}">
      <dgm:prSet/>
      <dgm:spPr/>
      <dgm:t>
        <a:bodyPr/>
        <a:lstStyle/>
        <a:p>
          <a:endParaRPr lang="ru-UA"/>
        </a:p>
      </dgm:t>
    </dgm:pt>
    <dgm:pt modelId="{478C9FBE-735B-4C9C-AF5F-304D5A7CA1C9}">
      <dgm:prSet/>
      <dgm:spPr/>
      <dgm:t>
        <a:bodyPr/>
        <a:lstStyle/>
        <a:p>
          <a:r>
            <a:rPr lang="uk-UA" b="0" i="0" noProof="0" dirty="0">
              <a:solidFill>
                <a:schemeClr val="tx1"/>
              </a:solidFill>
            </a:rPr>
            <a:t>Змінний час, протягом якого працівник на власний розсуд визначає періоди роботи в межах встановленої норми тривалості робочого часу;</a:t>
          </a:r>
        </a:p>
      </dgm:t>
    </dgm:pt>
    <dgm:pt modelId="{DF48B8B9-C9EC-422E-9D36-BAB5D47DCC6F}" type="parTrans" cxnId="{138F6D81-8458-46F4-A961-81C60EF61452}">
      <dgm:prSet/>
      <dgm:spPr/>
      <dgm:t>
        <a:bodyPr/>
        <a:lstStyle/>
        <a:p>
          <a:endParaRPr lang="ru-UA"/>
        </a:p>
      </dgm:t>
    </dgm:pt>
    <dgm:pt modelId="{065710F1-01AE-4760-8276-E3ED8367FEB6}" type="sibTrans" cxnId="{138F6D81-8458-46F4-A961-81C60EF61452}">
      <dgm:prSet/>
      <dgm:spPr/>
      <dgm:t>
        <a:bodyPr/>
        <a:lstStyle/>
        <a:p>
          <a:endParaRPr lang="ru-UA"/>
        </a:p>
      </dgm:t>
    </dgm:pt>
    <dgm:pt modelId="{9316F875-8490-454F-AC10-0DD44E35B14E}">
      <dgm:prSet/>
      <dgm:spPr/>
      <dgm:t>
        <a:bodyPr/>
        <a:lstStyle/>
        <a:p>
          <a:r>
            <a:rPr lang="uk-UA" b="0" i="0" noProof="0" dirty="0">
              <a:solidFill>
                <a:schemeClr val="tx1"/>
              </a:solidFill>
            </a:rPr>
            <a:t>Час перерви для відпочинку і харчування.</a:t>
          </a:r>
        </a:p>
      </dgm:t>
    </dgm:pt>
    <dgm:pt modelId="{6D356866-1EB3-4142-A218-F1315AF32D1C}" type="parTrans" cxnId="{0536D7B6-3077-409A-97B5-492C041017F0}">
      <dgm:prSet/>
      <dgm:spPr/>
      <dgm:t>
        <a:bodyPr/>
        <a:lstStyle/>
        <a:p>
          <a:endParaRPr lang="ru-UA"/>
        </a:p>
      </dgm:t>
    </dgm:pt>
    <dgm:pt modelId="{EA21BFBB-A9BD-471F-BD89-99CEE6DE13F4}" type="sibTrans" cxnId="{0536D7B6-3077-409A-97B5-492C041017F0}">
      <dgm:prSet/>
      <dgm:spPr/>
      <dgm:t>
        <a:bodyPr/>
        <a:lstStyle/>
        <a:p>
          <a:endParaRPr lang="ru-UA"/>
        </a:p>
      </dgm:t>
    </dgm:pt>
    <dgm:pt modelId="{B7C17DCC-608A-4418-B80A-35FB626E1598}" type="pres">
      <dgm:prSet presAssocID="{F279095C-514A-4217-8B07-3A603F803964}" presName="Name0" presStyleCnt="0">
        <dgm:presLayoutVars>
          <dgm:dir/>
          <dgm:animLvl val="lvl"/>
          <dgm:resizeHandles val="exact"/>
        </dgm:presLayoutVars>
      </dgm:prSet>
      <dgm:spPr/>
      <dgm:t>
        <a:bodyPr/>
        <a:lstStyle/>
        <a:p>
          <a:endParaRPr lang="en-US"/>
        </a:p>
      </dgm:t>
    </dgm:pt>
    <dgm:pt modelId="{11F03A19-649C-4514-A0DC-1474DF463C78}" type="pres">
      <dgm:prSet presAssocID="{A292656E-F39F-4EE7-B72E-C406D908D7CE}" presName="composite" presStyleCnt="0"/>
      <dgm:spPr/>
    </dgm:pt>
    <dgm:pt modelId="{C01D0633-22A5-490D-9A43-9C18C48CDD52}" type="pres">
      <dgm:prSet presAssocID="{A292656E-F39F-4EE7-B72E-C406D908D7CE}" presName="parTx" presStyleLbl="alignNode1" presStyleIdx="0" presStyleCnt="3" custScaleY="151088">
        <dgm:presLayoutVars>
          <dgm:chMax val="0"/>
          <dgm:chPref val="0"/>
          <dgm:bulletEnabled val="1"/>
        </dgm:presLayoutVars>
      </dgm:prSet>
      <dgm:spPr/>
      <dgm:t>
        <a:bodyPr/>
        <a:lstStyle/>
        <a:p>
          <a:endParaRPr lang="en-US"/>
        </a:p>
      </dgm:t>
    </dgm:pt>
    <dgm:pt modelId="{059DAF36-FAA5-451D-8428-5A373FF99DC5}" type="pres">
      <dgm:prSet presAssocID="{A292656E-F39F-4EE7-B72E-C406D908D7CE}" presName="desTx" presStyleLbl="alignAccFollowNode1" presStyleIdx="0" presStyleCnt="3">
        <dgm:presLayoutVars>
          <dgm:bulletEnabled val="1"/>
        </dgm:presLayoutVars>
      </dgm:prSet>
      <dgm:spPr/>
    </dgm:pt>
    <dgm:pt modelId="{4C5C2C7A-FEF6-478E-A080-3BF656CCA065}" type="pres">
      <dgm:prSet presAssocID="{43C04B92-8CD9-47F4-921F-230AD8091E48}" presName="space" presStyleCnt="0"/>
      <dgm:spPr/>
    </dgm:pt>
    <dgm:pt modelId="{4C2855D4-51DA-4D09-9646-20740848543F}" type="pres">
      <dgm:prSet presAssocID="{478C9FBE-735B-4C9C-AF5F-304D5A7CA1C9}" presName="composite" presStyleCnt="0"/>
      <dgm:spPr/>
    </dgm:pt>
    <dgm:pt modelId="{1207B239-E3DA-4412-BB65-23A1F91581C1}" type="pres">
      <dgm:prSet presAssocID="{478C9FBE-735B-4C9C-AF5F-304D5A7CA1C9}" presName="parTx" presStyleLbl="alignNode1" presStyleIdx="1" presStyleCnt="3">
        <dgm:presLayoutVars>
          <dgm:chMax val="0"/>
          <dgm:chPref val="0"/>
          <dgm:bulletEnabled val="1"/>
        </dgm:presLayoutVars>
      </dgm:prSet>
      <dgm:spPr/>
      <dgm:t>
        <a:bodyPr/>
        <a:lstStyle/>
        <a:p>
          <a:endParaRPr lang="en-US"/>
        </a:p>
      </dgm:t>
    </dgm:pt>
    <dgm:pt modelId="{CB55DBB9-ADE3-40C1-BA75-36DCC70E7581}" type="pres">
      <dgm:prSet presAssocID="{478C9FBE-735B-4C9C-AF5F-304D5A7CA1C9}" presName="desTx" presStyleLbl="alignAccFollowNode1" presStyleIdx="1" presStyleCnt="3">
        <dgm:presLayoutVars>
          <dgm:bulletEnabled val="1"/>
        </dgm:presLayoutVars>
      </dgm:prSet>
      <dgm:spPr/>
    </dgm:pt>
    <dgm:pt modelId="{D8254FCE-9FCC-475F-97AE-353589C1BDA7}" type="pres">
      <dgm:prSet presAssocID="{065710F1-01AE-4760-8276-E3ED8367FEB6}" presName="space" presStyleCnt="0"/>
      <dgm:spPr/>
    </dgm:pt>
    <dgm:pt modelId="{8D53CC75-4F33-4BDC-B09F-A15570B211FB}" type="pres">
      <dgm:prSet presAssocID="{9316F875-8490-454F-AC10-0DD44E35B14E}" presName="composite" presStyleCnt="0"/>
      <dgm:spPr/>
    </dgm:pt>
    <dgm:pt modelId="{03C8FFE5-305D-4F44-BFDA-08AC2F228E9E}" type="pres">
      <dgm:prSet presAssocID="{9316F875-8490-454F-AC10-0DD44E35B14E}" presName="parTx" presStyleLbl="alignNode1" presStyleIdx="2" presStyleCnt="3">
        <dgm:presLayoutVars>
          <dgm:chMax val="0"/>
          <dgm:chPref val="0"/>
          <dgm:bulletEnabled val="1"/>
        </dgm:presLayoutVars>
      </dgm:prSet>
      <dgm:spPr/>
      <dgm:t>
        <a:bodyPr/>
        <a:lstStyle/>
        <a:p>
          <a:endParaRPr lang="en-US"/>
        </a:p>
      </dgm:t>
    </dgm:pt>
    <dgm:pt modelId="{CAD1A1DF-7E97-46DA-88A5-BB2B93EFEC7C}" type="pres">
      <dgm:prSet presAssocID="{9316F875-8490-454F-AC10-0DD44E35B14E}" presName="desTx" presStyleLbl="alignAccFollowNode1" presStyleIdx="2" presStyleCnt="3">
        <dgm:presLayoutVars>
          <dgm:bulletEnabled val="1"/>
        </dgm:presLayoutVars>
      </dgm:prSet>
      <dgm:spPr/>
    </dgm:pt>
  </dgm:ptLst>
  <dgm:cxnLst>
    <dgm:cxn modelId="{845E1ADF-36CD-45E0-9339-F4DFCF23A0E1}" type="presOf" srcId="{F279095C-514A-4217-8B07-3A603F803964}" destId="{B7C17DCC-608A-4418-B80A-35FB626E1598}" srcOrd="0" destOrd="0" presId="urn:microsoft.com/office/officeart/2005/8/layout/hList1"/>
    <dgm:cxn modelId="{8E2C13C0-8256-4E5C-A81E-8D2FFE77D757}" type="presOf" srcId="{478C9FBE-735B-4C9C-AF5F-304D5A7CA1C9}" destId="{1207B239-E3DA-4412-BB65-23A1F91581C1}" srcOrd="0" destOrd="0" presId="urn:microsoft.com/office/officeart/2005/8/layout/hList1"/>
    <dgm:cxn modelId="{0536D7B6-3077-409A-97B5-492C041017F0}" srcId="{F279095C-514A-4217-8B07-3A603F803964}" destId="{9316F875-8490-454F-AC10-0DD44E35B14E}" srcOrd="2" destOrd="0" parTransId="{6D356866-1EB3-4142-A218-F1315AF32D1C}" sibTransId="{EA21BFBB-A9BD-471F-BD89-99CEE6DE13F4}"/>
    <dgm:cxn modelId="{357730E9-7FF5-4A0C-838B-F24CA540A950}" type="presOf" srcId="{A292656E-F39F-4EE7-B72E-C406D908D7CE}" destId="{C01D0633-22A5-490D-9A43-9C18C48CDD52}" srcOrd="0" destOrd="0" presId="urn:microsoft.com/office/officeart/2005/8/layout/hList1"/>
    <dgm:cxn modelId="{6EFF37CD-8E40-4CB7-BEF6-A4E7683C7575}" type="presOf" srcId="{9316F875-8490-454F-AC10-0DD44E35B14E}" destId="{03C8FFE5-305D-4F44-BFDA-08AC2F228E9E}" srcOrd="0" destOrd="0" presId="urn:microsoft.com/office/officeart/2005/8/layout/hList1"/>
    <dgm:cxn modelId="{138F6D81-8458-46F4-A961-81C60EF61452}" srcId="{F279095C-514A-4217-8B07-3A603F803964}" destId="{478C9FBE-735B-4C9C-AF5F-304D5A7CA1C9}" srcOrd="1" destOrd="0" parTransId="{DF48B8B9-C9EC-422E-9D36-BAB5D47DCC6F}" sibTransId="{065710F1-01AE-4760-8276-E3ED8367FEB6}"/>
    <dgm:cxn modelId="{857EC1AA-B527-4361-A535-9F901924A8E5}" srcId="{F279095C-514A-4217-8B07-3A603F803964}" destId="{A292656E-F39F-4EE7-B72E-C406D908D7CE}" srcOrd="0" destOrd="0" parTransId="{3645031C-91B4-44FD-BAFB-80D6A4F7A611}" sibTransId="{43C04B92-8CD9-47F4-921F-230AD8091E48}"/>
    <dgm:cxn modelId="{D268469B-8A6D-4346-8185-319CBB5DF12B}" type="presParOf" srcId="{B7C17DCC-608A-4418-B80A-35FB626E1598}" destId="{11F03A19-649C-4514-A0DC-1474DF463C78}" srcOrd="0" destOrd="0" presId="urn:microsoft.com/office/officeart/2005/8/layout/hList1"/>
    <dgm:cxn modelId="{776C8155-7177-44E5-9F5E-31FEA770D7DF}" type="presParOf" srcId="{11F03A19-649C-4514-A0DC-1474DF463C78}" destId="{C01D0633-22A5-490D-9A43-9C18C48CDD52}" srcOrd="0" destOrd="0" presId="urn:microsoft.com/office/officeart/2005/8/layout/hList1"/>
    <dgm:cxn modelId="{B0B5562C-E1B0-488B-9A7D-ED0325F3CF54}" type="presParOf" srcId="{11F03A19-649C-4514-A0DC-1474DF463C78}" destId="{059DAF36-FAA5-451D-8428-5A373FF99DC5}" srcOrd="1" destOrd="0" presId="urn:microsoft.com/office/officeart/2005/8/layout/hList1"/>
    <dgm:cxn modelId="{C6AA6451-198E-4F98-A784-8385E1436C60}" type="presParOf" srcId="{B7C17DCC-608A-4418-B80A-35FB626E1598}" destId="{4C5C2C7A-FEF6-478E-A080-3BF656CCA065}" srcOrd="1" destOrd="0" presId="urn:microsoft.com/office/officeart/2005/8/layout/hList1"/>
    <dgm:cxn modelId="{B95C1D98-F0CD-4351-A2FA-30FA6C2D33AB}" type="presParOf" srcId="{B7C17DCC-608A-4418-B80A-35FB626E1598}" destId="{4C2855D4-51DA-4D09-9646-20740848543F}" srcOrd="2" destOrd="0" presId="urn:microsoft.com/office/officeart/2005/8/layout/hList1"/>
    <dgm:cxn modelId="{5DDD5161-B6CF-4686-A7D0-6C2E080DEEF1}" type="presParOf" srcId="{4C2855D4-51DA-4D09-9646-20740848543F}" destId="{1207B239-E3DA-4412-BB65-23A1F91581C1}" srcOrd="0" destOrd="0" presId="urn:microsoft.com/office/officeart/2005/8/layout/hList1"/>
    <dgm:cxn modelId="{49E33CAE-16E4-4980-A030-CC26121C9D9A}" type="presParOf" srcId="{4C2855D4-51DA-4D09-9646-20740848543F}" destId="{CB55DBB9-ADE3-40C1-BA75-36DCC70E7581}" srcOrd="1" destOrd="0" presId="urn:microsoft.com/office/officeart/2005/8/layout/hList1"/>
    <dgm:cxn modelId="{69B5618C-F2F1-438F-8629-CD6221732D79}" type="presParOf" srcId="{B7C17DCC-608A-4418-B80A-35FB626E1598}" destId="{D8254FCE-9FCC-475F-97AE-353589C1BDA7}" srcOrd="3" destOrd="0" presId="urn:microsoft.com/office/officeart/2005/8/layout/hList1"/>
    <dgm:cxn modelId="{9F14AE8C-8E40-4F25-8E22-2997284E2DB3}" type="presParOf" srcId="{B7C17DCC-608A-4418-B80A-35FB626E1598}" destId="{8D53CC75-4F33-4BDC-B09F-A15570B211FB}" srcOrd="4" destOrd="0" presId="urn:microsoft.com/office/officeart/2005/8/layout/hList1"/>
    <dgm:cxn modelId="{5EFA288C-10DC-48BA-8B73-C315DF1B76CB}" type="presParOf" srcId="{8D53CC75-4F33-4BDC-B09F-A15570B211FB}" destId="{03C8FFE5-305D-4F44-BFDA-08AC2F228E9E}" srcOrd="0" destOrd="0" presId="urn:microsoft.com/office/officeart/2005/8/layout/hList1"/>
    <dgm:cxn modelId="{71873319-B18B-47E3-8A9B-8BB07467FD2C}" type="presParOf" srcId="{8D53CC75-4F33-4BDC-B09F-A15570B211FB}" destId="{CAD1A1DF-7E97-46DA-88A5-BB2B93EFEC7C}"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7911B86-D133-4C9F-A3D7-620118B157E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UA"/>
        </a:p>
      </dgm:t>
    </dgm:pt>
    <dgm:pt modelId="{823D3085-B5BA-447B-86EF-C788AFF70A77}">
      <dgm:prSet phldrT="[Текст]"/>
      <dgm:spPr/>
      <dgm:t>
        <a:bodyPr/>
        <a:lstStyle/>
        <a:p>
          <a:r>
            <a:rPr lang="uk-UA" b="0" i="0" noProof="0" dirty="0">
              <a:solidFill>
                <a:schemeClr val="tx1"/>
              </a:solidFill>
            </a:rPr>
            <a:t>У процесі передачі об’єктів комунальної власності відбувається саме зміна власника відповідної організації/підприємства, а отже – жодних змін у здійсненні трудових прав працівників цієї організації/підприємства на момент передачі не відбувається.</a:t>
          </a:r>
          <a:endParaRPr lang="uk-UA" noProof="0" dirty="0">
            <a:solidFill>
              <a:schemeClr val="tx1"/>
            </a:solidFill>
          </a:endParaRPr>
        </a:p>
      </dgm:t>
    </dgm:pt>
    <dgm:pt modelId="{97C03ADC-64A7-42D4-94F9-0BA742FA3E05}" type="parTrans" cxnId="{86B375EE-6518-4F33-A82D-249FF3D27667}">
      <dgm:prSet/>
      <dgm:spPr/>
      <dgm:t>
        <a:bodyPr/>
        <a:lstStyle/>
        <a:p>
          <a:endParaRPr lang="ru-UA"/>
        </a:p>
      </dgm:t>
    </dgm:pt>
    <dgm:pt modelId="{7D4861CC-9600-4256-8C05-C85DDDA1F112}" type="sibTrans" cxnId="{86B375EE-6518-4F33-A82D-249FF3D27667}">
      <dgm:prSet/>
      <dgm:spPr/>
      <dgm:t>
        <a:bodyPr/>
        <a:lstStyle/>
        <a:p>
          <a:endParaRPr lang="ru-UA"/>
        </a:p>
      </dgm:t>
    </dgm:pt>
    <dgm:pt modelId="{430E72C0-D883-430E-A3A3-B98DABC3483D}">
      <dgm:prSet phldrT="[Текст]" custT="1"/>
      <dgm:spPr/>
      <dgm:t>
        <a:bodyPr/>
        <a:lstStyle/>
        <a:p>
          <a:r>
            <a:rPr lang="uk-UA" sz="4400" b="0" i="0" noProof="0" dirty="0"/>
            <a:t>Зміна підпорядкованості підприємства, установи, організації не припиняє дії трудового договору (ст. 36 КЗпП).</a:t>
          </a:r>
          <a:endParaRPr lang="uk-UA" sz="4400" noProof="0" dirty="0"/>
        </a:p>
      </dgm:t>
    </dgm:pt>
    <dgm:pt modelId="{F8B5C4D2-C3D0-46F6-B689-7E56E6FF55E7}" type="parTrans" cxnId="{D746BFCD-1ADD-4B6F-9E58-1111CD990EE3}">
      <dgm:prSet/>
      <dgm:spPr/>
      <dgm:t>
        <a:bodyPr/>
        <a:lstStyle/>
        <a:p>
          <a:endParaRPr lang="ru-UA"/>
        </a:p>
      </dgm:t>
    </dgm:pt>
    <dgm:pt modelId="{A267B23E-5D5B-4049-BA9E-799268049CB3}" type="sibTrans" cxnId="{D746BFCD-1ADD-4B6F-9E58-1111CD990EE3}">
      <dgm:prSet/>
      <dgm:spPr/>
      <dgm:t>
        <a:bodyPr/>
        <a:lstStyle/>
        <a:p>
          <a:endParaRPr lang="ru-UA"/>
        </a:p>
      </dgm:t>
    </dgm:pt>
    <dgm:pt modelId="{8A188032-425B-4CFE-8DF4-41C160068B44}">
      <dgm:prSet phldrT="[Текст]"/>
      <dgm:spPr/>
      <dgm:t>
        <a:bodyPr/>
        <a:lstStyle/>
        <a:p>
          <a:r>
            <a:rPr lang="uk-UA" b="0" i="0" noProof="0" dirty="0">
              <a:solidFill>
                <a:schemeClr val="tx1"/>
              </a:solidFill>
            </a:rPr>
            <a:t>У разі зміни роботодавця, а також у разі їх реорганізації (злиття, приєднання, поділу, виділення, перетворення) дія трудового договору працівника продовжується. Припинення трудового договору з ініціативи роботодавця можливе </a:t>
          </a:r>
          <a:r>
            <a:rPr lang="uk-UA" b="1" i="0" noProof="0" dirty="0">
              <a:solidFill>
                <a:schemeClr val="tx1"/>
              </a:solidFill>
            </a:rPr>
            <a:t>лише у разі скорочення чисельності або штату працівників</a:t>
          </a:r>
          <a:r>
            <a:rPr lang="uk-UA" b="0" i="0" noProof="0" dirty="0">
              <a:solidFill>
                <a:schemeClr val="tx1"/>
              </a:solidFill>
            </a:rPr>
            <a:t> .</a:t>
          </a:r>
          <a:endParaRPr lang="uk-UA" noProof="0" dirty="0">
            <a:solidFill>
              <a:schemeClr val="tx1"/>
            </a:solidFill>
          </a:endParaRPr>
        </a:p>
      </dgm:t>
    </dgm:pt>
    <dgm:pt modelId="{6DF810A1-1164-4BEF-BE3F-B6C868F22B0C}" type="parTrans" cxnId="{45731BF7-07B9-4C9B-905A-C87E54D18947}">
      <dgm:prSet/>
      <dgm:spPr/>
      <dgm:t>
        <a:bodyPr/>
        <a:lstStyle/>
        <a:p>
          <a:endParaRPr lang="ru-UA"/>
        </a:p>
      </dgm:t>
    </dgm:pt>
    <dgm:pt modelId="{8E2048FA-E59C-4156-A621-CB5C94883695}" type="sibTrans" cxnId="{45731BF7-07B9-4C9B-905A-C87E54D18947}">
      <dgm:prSet/>
      <dgm:spPr/>
      <dgm:t>
        <a:bodyPr/>
        <a:lstStyle/>
        <a:p>
          <a:endParaRPr lang="ru-UA"/>
        </a:p>
      </dgm:t>
    </dgm:pt>
    <dgm:pt modelId="{985C3F41-43C1-4A90-B540-5D144C658887}" type="pres">
      <dgm:prSet presAssocID="{77911B86-D133-4C9F-A3D7-620118B157ED}" presName="linear" presStyleCnt="0">
        <dgm:presLayoutVars>
          <dgm:animLvl val="lvl"/>
          <dgm:resizeHandles val="exact"/>
        </dgm:presLayoutVars>
      </dgm:prSet>
      <dgm:spPr/>
      <dgm:t>
        <a:bodyPr/>
        <a:lstStyle/>
        <a:p>
          <a:endParaRPr lang="en-US"/>
        </a:p>
      </dgm:t>
    </dgm:pt>
    <dgm:pt modelId="{7A60595D-A015-4723-9EF3-F1F7DFF9DA95}" type="pres">
      <dgm:prSet presAssocID="{823D3085-B5BA-447B-86EF-C788AFF70A77}" presName="parentText" presStyleLbl="node1" presStyleIdx="0" presStyleCnt="2">
        <dgm:presLayoutVars>
          <dgm:chMax val="0"/>
          <dgm:bulletEnabled val="1"/>
        </dgm:presLayoutVars>
      </dgm:prSet>
      <dgm:spPr/>
      <dgm:t>
        <a:bodyPr/>
        <a:lstStyle/>
        <a:p>
          <a:endParaRPr lang="en-US"/>
        </a:p>
      </dgm:t>
    </dgm:pt>
    <dgm:pt modelId="{CF396298-DCC0-4F80-A72F-24A11523A737}" type="pres">
      <dgm:prSet presAssocID="{823D3085-B5BA-447B-86EF-C788AFF70A77}" presName="childText" presStyleLbl="revTx" presStyleIdx="0" presStyleCnt="1">
        <dgm:presLayoutVars>
          <dgm:bulletEnabled val="1"/>
        </dgm:presLayoutVars>
      </dgm:prSet>
      <dgm:spPr/>
      <dgm:t>
        <a:bodyPr/>
        <a:lstStyle/>
        <a:p>
          <a:endParaRPr lang="en-US"/>
        </a:p>
      </dgm:t>
    </dgm:pt>
    <dgm:pt modelId="{CFB7FB7C-7E4B-4780-BFC6-D8BECAEE0A30}" type="pres">
      <dgm:prSet presAssocID="{8A188032-425B-4CFE-8DF4-41C160068B44}" presName="parentText" presStyleLbl="node1" presStyleIdx="1" presStyleCnt="2">
        <dgm:presLayoutVars>
          <dgm:chMax val="0"/>
          <dgm:bulletEnabled val="1"/>
        </dgm:presLayoutVars>
      </dgm:prSet>
      <dgm:spPr/>
      <dgm:t>
        <a:bodyPr/>
        <a:lstStyle/>
        <a:p>
          <a:endParaRPr lang="en-US"/>
        </a:p>
      </dgm:t>
    </dgm:pt>
  </dgm:ptLst>
  <dgm:cxnLst>
    <dgm:cxn modelId="{77030A51-D3B7-4F71-946B-00609F6DA1CB}" type="presOf" srcId="{77911B86-D133-4C9F-A3D7-620118B157ED}" destId="{985C3F41-43C1-4A90-B540-5D144C658887}" srcOrd="0" destOrd="0" presId="urn:microsoft.com/office/officeart/2005/8/layout/vList2"/>
    <dgm:cxn modelId="{8FB966A5-704E-40F4-A059-56325E88F8B6}" type="presOf" srcId="{430E72C0-D883-430E-A3A3-B98DABC3483D}" destId="{CF396298-DCC0-4F80-A72F-24A11523A737}" srcOrd="0" destOrd="0" presId="urn:microsoft.com/office/officeart/2005/8/layout/vList2"/>
    <dgm:cxn modelId="{D746BFCD-1ADD-4B6F-9E58-1111CD990EE3}" srcId="{823D3085-B5BA-447B-86EF-C788AFF70A77}" destId="{430E72C0-D883-430E-A3A3-B98DABC3483D}" srcOrd="0" destOrd="0" parTransId="{F8B5C4D2-C3D0-46F6-B689-7E56E6FF55E7}" sibTransId="{A267B23E-5D5B-4049-BA9E-799268049CB3}"/>
    <dgm:cxn modelId="{86B375EE-6518-4F33-A82D-249FF3D27667}" srcId="{77911B86-D133-4C9F-A3D7-620118B157ED}" destId="{823D3085-B5BA-447B-86EF-C788AFF70A77}" srcOrd="0" destOrd="0" parTransId="{97C03ADC-64A7-42D4-94F9-0BA742FA3E05}" sibTransId="{7D4861CC-9600-4256-8C05-C85DDDA1F112}"/>
    <dgm:cxn modelId="{39FC54A9-C341-4662-915D-320312278F9C}" type="presOf" srcId="{823D3085-B5BA-447B-86EF-C788AFF70A77}" destId="{7A60595D-A015-4723-9EF3-F1F7DFF9DA95}" srcOrd="0" destOrd="0" presId="urn:microsoft.com/office/officeart/2005/8/layout/vList2"/>
    <dgm:cxn modelId="{45731BF7-07B9-4C9B-905A-C87E54D18947}" srcId="{77911B86-D133-4C9F-A3D7-620118B157ED}" destId="{8A188032-425B-4CFE-8DF4-41C160068B44}" srcOrd="1" destOrd="0" parTransId="{6DF810A1-1164-4BEF-BE3F-B6C868F22B0C}" sibTransId="{8E2048FA-E59C-4156-A621-CB5C94883695}"/>
    <dgm:cxn modelId="{AEA7B9B1-28FC-4303-A86A-5C3957F19689}" type="presOf" srcId="{8A188032-425B-4CFE-8DF4-41C160068B44}" destId="{CFB7FB7C-7E4B-4780-BFC6-D8BECAEE0A30}" srcOrd="0" destOrd="0" presId="urn:microsoft.com/office/officeart/2005/8/layout/vList2"/>
    <dgm:cxn modelId="{AF4A381A-1127-4727-9E3C-21137AEAC54D}" type="presParOf" srcId="{985C3F41-43C1-4A90-B540-5D144C658887}" destId="{7A60595D-A015-4723-9EF3-F1F7DFF9DA95}" srcOrd="0" destOrd="0" presId="urn:microsoft.com/office/officeart/2005/8/layout/vList2"/>
    <dgm:cxn modelId="{EFCC2A1A-5957-46DA-9370-9501BC41EA62}" type="presParOf" srcId="{985C3F41-43C1-4A90-B540-5D144C658887}" destId="{CF396298-DCC0-4F80-A72F-24A11523A737}" srcOrd="1" destOrd="0" presId="urn:microsoft.com/office/officeart/2005/8/layout/vList2"/>
    <dgm:cxn modelId="{D7B44B3C-8BB8-4394-9576-11198DA654F4}" type="presParOf" srcId="{985C3F41-43C1-4A90-B540-5D144C658887}" destId="{CFB7FB7C-7E4B-4780-BFC6-D8BECAEE0A30}"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9C4CBB-0E1C-42EC-A584-020C3209EF08}">
      <dsp:nvSpPr>
        <dsp:cNvPr id="0" name=""/>
        <dsp:cNvSpPr/>
      </dsp:nvSpPr>
      <dsp:spPr>
        <a:xfrm>
          <a:off x="0" y="670138"/>
          <a:ext cx="16256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5D6AC5-1B98-4597-8AA5-F35B77451A38}">
      <dsp:nvSpPr>
        <dsp:cNvPr id="0" name=""/>
        <dsp:cNvSpPr/>
      </dsp:nvSpPr>
      <dsp:spPr>
        <a:xfrm>
          <a:off x="0" y="670138"/>
          <a:ext cx="16256000" cy="7800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lvl="0" algn="ctr" defTabSz="1600200">
            <a:lnSpc>
              <a:spcPct val="90000"/>
            </a:lnSpc>
            <a:spcBef>
              <a:spcPct val="0"/>
            </a:spcBef>
            <a:spcAft>
              <a:spcPct val="35000"/>
            </a:spcAft>
          </a:pPr>
          <a:r>
            <a:rPr lang="uk-UA" sz="3600" i="1" kern="1200" dirty="0"/>
            <a:t>Спікер Анастасія Сербіна, адвокат, </a:t>
          </a:r>
          <a:r>
            <a:rPr lang="uk-UA" sz="3600" b="0" i="1" kern="1200" dirty="0"/>
            <a:t>консультантка Програми </a:t>
          </a:r>
          <a:r>
            <a:rPr lang="en-US" sz="3600" b="0" i="1" kern="1200" dirty="0"/>
            <a:t>DOBRE</a:t>
          </a:r>
          <a:endParaRPr lang="ru-UA" sz="3600" i="1" kern="1200" dirty="0"/>
        </a:p>
      </dsp:txBody>
      <dsp:txXfrm>
        <a:off x="0" y="670138"/>
        <a:ext cx="16256000" cy="78007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0CCA13-D3F8-4673-B2FB-002CF17EA526}">
      <dsp:nvSpPr>
        <dsp:cNvPr id="0" name=""/>
        <dsp:cNvSpPr/>
      </dsp:nvSpPr>
      <dsp:spPr>
        <a:xfrm>
          <a:off x="0" y="0"/>
          <a:ext cx="19829929" cy="2426073"/>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uk-UA" sz="2800" b="0" i="0" kern="1200" noProof="0" dirty="0"/>
            <a:t>Випробування не встановлюється при прийнятті на роботу ВПО</a:t>
          </a:r>
        </a:p>
        <a:p>
          <a:pPr lvl="0" algn="l" defTabSz="1244600">
            <a:lnSpc>
              <a:spcPct val="90000"/>
            </a:lnSpc>
            <a:spcBef>
              <a:spcPct val="0"/>
            </a:spcBef>
            <a:spcAft>
              <a:spcPct val="35000"/>
            </a:spcAft>
          </a:pPr>
          <a:r>
            <a:rPr lang="uk-UA" sz="2800" b="0" i="0" kern="1200" noProof="0" dirty="0"/>
            <a:t>(ст. 26 КЗпП)</a:t>
          </a:r>
          <a:endParaRPr lang="uk-UA" sz="2800" kern="1200" noProof="0" dirty="0"/>
        </a:p>
      </dsp:txBody>
      <dsp:txXfrm>
        <a:off x="4208593" y="0"/>
        <a:ext cx="15621335" cy="2426073"/>
      </dsp:txXfrm>
    </dsp:sp>
    <dsp:sp modelId="{FEE4ACA9-BA05-4366-B112-68B4EDD129A4}">
      <dsp:nvSpPr>
        <dsp:cNvPr id="0" name=""/>
        <dsp:cNvSpPr/>
      </dsp:nvSpPr>
      <dsp:spPr>
        <a:xfrm>
          <a:off x="242607" y="242607"/>
          <a:ext cx="3965985" cy="1940858"/>
        </a:xfrm>
        <a:prstGeom prst="roundRect">
          <a:avLst>
            <a:gd name="adj" fmla="val 10000"/>
          </a:avLst>
        </a:prstGeom>
        <a:solidFill>
          <a:schemeClr val="accent1">
            <a:tint val="50000"/>
            <a:hueOff val="0"/>
            <a:satOff val="0"/>
            <a:lumOff val="0"/>
            <a:alphaOff val="0"/>
          </a:schemeClr>
        </a:solidFill>
        <a:ln w="9525" cap="flat"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 modelId="{1DEC50B7-2795-4213-BC95-98D7794619A4}">
      <dsp:nvSpPr>
        <dsp:cNvPr id="0" name=""/>
        <dsp:cNvSpPr/>
      </dsp:nvSpPr>
      <dsp:spPr>
        <a:xfrm>
          <a:off x="0" y="2668681"/>
          <a:ext cx="19829929" cy="2426073"/>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uk-UA" sz="2800" b="0" i="0" kern="1200" noProof="0" dirty="0"/>
            <a:t>При укладенні трудового договору в період дії воєнного стану умова про випробування працівника під час прийняття на роботу може встановлюватися для будь-якої категорії працівників.</a:t>
          </a:r>
        </a:p>
        <a:p>
          <a:pPr lvl="0" algn="l" defTabSz="1244600">
            <a:lnSpc>
              <a:spcPct val="90000"/>
            </a:lnSpc>
            <a:spcBef>
              <a:spcPct val="0"/>
            </a:spcBef>
            <a:spcAft>
              <a:spcPct val="35000"/>
            </a:spcAft>
          </a:pPr>
          <a:r>
            <a:rPr lang="uk-UA" sz="2800" b="0" i="0" kern="1200" noProof="0" dirty="0"/>
            <a:t>(ст. 2 Закону 2136)</a:t>
          </a:r>
          <a:endParaRPr lang="uk-UA" sz="2800" kern="1200" noProof="0" dirty="0"/>
        </a:p>
      </dsp:txBody>
      <dsp:txXfrm>
        <a:off x="4208593" y="2668681"/>
        <a:ext cx="15621335" cy="2426073"/>
      </dsp:txXfrm>
    </dsp:sp>
    <dsp:sp modelId="{8055F1CD-D3C6-4527-A118-CB0F8325ED4F}">
      <dsp:nvSpPr>
        <dsp:cNvPr id="0" name=""/>
        <dsp:cNvSpPr/>
      </dsp:nvSpPr>
      <dsp:spPr>
        <a:xfrm>
          <a:off x="242607" y="2911288"/>
          <a:ext cx="3965985" cy="1940858"/>
        </a:xfrm>
        <a:prstGeom prst="roundRect">
          <a:avLst>
            <a:gd name="adj" fmla="val 10000"/>
          </a:avLst>
        </a:prstGeom>
        <a:solidFill>
          <a:schemeClr val="accent1">
            <a:tint val="50000"/>
            <a:hueOff val="0"/>
            <a:satOff val="0"/>
            <a:lumOff val="0"/>
            <a:alphaOff val="0"/>
          </a:schemeClr>
        </a:solidFill>
        <a:ln w="9525" cap="flat"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 modelId="{3349C20E-6D8E-4C31-952C-B82558E440F6}">
      <dsp:nvSpPr>
        <dsp:cNvPr id="0" name=""/>
        <dsp:cNvSpPr/>
      </dsp:nvSpPr>
      <dsp:spPr>
        <a:xfrm>
          <a:off x="0" y="5337362"/>
          <a:ext cx="19829929" cy="2426073"/>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uk-UA" sz="2800" b="0" i="0" kern="1200" noProof="0" dirty="0"/>
            <a:t>Строк випробування при прийнятті на роботу, якщо інше не встановлено законодавством України, не може перевищувати трьох місяців, а в окремих випадках, за погодженням з відповідним виборним органом первинної профспілкової організації, – шести місяців. Строк випробування при прийнятті на роботу робітників не може перевищувати одного місяця.</a:t>
          </a:r>
        </a:p>
        <a:p>
          <a:pPr lvl="0" algn="l" defTabSz="1244600">
            <a:lnSpc>
              <a:spcPct val="90000"/>
            </a:lnSpc>
            <a:spcBef>
              <a:spcPct val="0"/>
            </a:spcBef>
            <a:spcAft>
              <a:spcPct val="35000"/>
            </a:spcAft>
          </a:pPr>
          <a:r>
            <a:rPr lang="uk-UA" sz="2800" b="0" i="0" kern="1200" noProof="0" dirty="0"/>
            <a:t>(ст. 27 КЗпП)</a:t>
          </a:r>
          <a:endParaRPr lang="uk-UA" sz="2800" kern="1200" noProof="0" dirty="0"/>
        </a:p>
      </dsp:txBody>
      <dsp:txXfrm>
        <a:off x="4208593" y="5337362"/>
        <a:ext cx="15621335" cy="2426073"/>
      </dsp:txXfrm>
    </dsp:sp>
    <dsp:sp modelId="{A04FDEF8-B179-4EEE-B924-9D0F613AB8F0}">
      <dsp:nvSpPr>
        <dsp:cNvPr id="0" name=""/>
        <dsp:cNvSpPr/>
      </dsp:nvSpPr>
      <dsp:spPr>
        <a:xfrm>
          <a:off x="242607" y="5579969"/>
          <a:ext cx="3965985" cy="1940858"/>
        </a:xfrm>
        <a:prstGeom prst="roundRect">
          <a:avLst>
            <a:gd name="adj" fmla="val 10000"/>
          </a:avLst>
        </a:prstGeom>
        <a:solidFill>
          <a:schemeClr val="accent1">
            <a:tint val="50000"/>
            <a:hueOff val="0"/>
            <a:satOff val="0"/>
            <a:lumOff val="0"/>
            <a:alphaOff val="0"/>
          </a:schemeClr>
        </a:solidFill>
        <a:ln w="9525" cap="flat"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A511C-C4A4-432A-A5B1-79A8D4DE15B0}">
      <dsp:nvSpPr>
        <dsp:cNvPr id="0" name=""/>
        <dsp:cNvSpPr/>
      </dsp:nvSpPr>
      <dsp:spPr>
        <a:xfrm>
          <a:off x="0" y="0"/>
          <a:ext cx="2108498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856034-8AD0-4BAA-A771-AE9AD6D2FF22}">
      <dsp:nvSpPr>
        <dsp:cNvPr id="0" name=""/>
        <dsp:cNvSpPr/>
      </dsp:nvSpPr>
      <dsp:spPr>
        <a:xfrm>
          <a:off x="0" y="0"/>
          <a:ext cx="4216997" cy="2289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kern="1200" noProof="0" dirty="0">
              <a:highlight>
                <a:srgbClr val="00FFFF"/>
              </a:highlight>
            </a:rPr>
            <a:t>Наказ МОЗ від 04.08.2022 № 1415</a:t>
          </a:r>
        </a:p>
        <a:p>
          <a:pPr lvl="0" algn="l" defTabSz="1422400">
            <a:lnSpc>
              <a:spcPct val="90000"/>
            </a:lnSpc>
            <a:spcBef>
              <a:spcPct val="0"/>
            </a:spcBef>
            <a:spcAft>
              <a:spcPct val="35000"/>
            </a:spcAft>
          </a:pPr>
          <a:r>
            <a:rPr lang="uk-UA" sz="3200" b="0" kern="1200" noProof="0" dirty="0"/>
            <a:t>Зупинення атестації</a:t>
          </a:r>
        </a:p>
      </dsp:txBody>
      <dsp:txXfrm>
        <a:off x="0" y="0"/>
        <a:ext cx="4216997" cy="2289559"/>
      </dsp:txXfrm>
    </dsp:sp>
    <dsp:sp modelId="{154AD2A2-B6E1-47D4-9B75-81A2C8E7B91A}">
      <dsp:nvSpPr>
        <dsp:cNvPr id="0" name=""/>
        <dsp:cNvSpPr/>
      </dsp:nvSpPr>
      <dsp:spPr>
        <a:xfrm>
          <a:off x="4533272" y="26914"/>
          <a:ext cx="16551714" cy="5382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0" dirty="0"/>
            <a:t>лікарів (провізорів)</a:t>
          </a:r>
          <a:endParaRPr lang="uk-UA" sz="3200" b="0" kern="1200" noProof="0" dirty="0"/>
        </a:p>
      </dsp:txBody>
      <dsp:txXfrm>
        <a:off x="4533272" y="26914"/>
        <a:ext cx="16551714" cy="538292"/>
      </dsp:txXfrm>
    </dsp:sp>
    <dsp:sp modelId="{DEF7A55F-760F-45F9-A640-E54B36D1AF63}">
      <dsp:nvSpPr>
        <dsp:cNvPr id="0" name=""/>
        <dsp:cNvSpPr/>
      </dsp:nvSpPr>
      <dsp:spPr>
        <a:xfrm>
          <a:off x="4216997" y="565207"/>
          <a:ext cx="16867989"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F648F9-1051-4845-9E2F-CB5FFF2507FC}">
      <dsp:nvSpPr>
        <dsp:cNvPr id="0" name=""/>
        <dsp:cNvSpPr/>
      </dsp:nvSpPr>
      <dsp:spPr>
        <a:xfrm>
          <a:off x="4533272" y="592121"/>
          <a:ext cx="16551714" cy="5382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0" dirty="0"/>
            <a:t>молодших спеціалістів із медичною освітою</a:t>
          </a:r>
          <a:endParaRPr lang="uk-UA" sz="3200" b="0" kern="1200" noProof="0" dirty="0"/>
        </a:p>
      </dsp:txBody>
      <dsp:txXfrm>
        <a:off x="4533272" y="592121"/>
        <a:ext cx="16551714" cy="538292"/>
      </dsp:txXfrm>
    </dsp:sp>
    <dsp:sp modelId="{DF004D7E-937C-4B0F-AF50-508AE8A512D6}">
      <dsp:nvSpPr>
        <dsp:cNvPr id="0" name=""/>
        <dsp:cNvSpPr/>
      </dsp:nvSpPr>
      <dsp:spPr>
        <a:xfrm>
          <a:off x="4216997" y="1130414"/>
          <a:ext cx="16867989"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A69DFA-384F-40FC-B7A3-6ECB47C4CE90}">
      <dsp:nvSpPr>
        <dsp:cNvPr id="0" name=""/>
        <dsp:cNvSpPr/>
      </dsp:nvSpPr>
      <dsp:spPr>
        <a:xfrm>
          <a:off x="4533272" y="1157328"/>
          <a:ext cx="16551714" cy="5382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0" dirty="0"/>
            <a:t>фармацевтів</a:t>
          </a:r>
          <a:endParaRPr lang="uk-UA" sz="3200" b="0" kern="1200" noProof="0" dirty="0"/>
        </a:p>
      </dsp:txBody>
      <dsp:txXfrm>
        <a:off x="4533272" y="1157328"/>
        <a:ext cx="16551714" cy="538292"/>
      </dsp:txXfrm>
    </dsp:sp>
    <dsp:sp modelId="{50EB4D6D-FD32-44F4-9993-8739F2619CC9}">
      <dsp:nvSpPr>
        <dsp:cNvPr id="0" name=""/>
        <dsp:cNvSpPr/>
      </dsp:nvSpPr>
      <dsp:spPr>
        <a:xfrm>
          <a:off x="4216997" y="1695621"/>
          <a:ext cx="16867989"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CAC199-9053-49C5-8BAD-4E4D0010A783}">
      <dsp:nvSpPr>
        <dsp:cNvPr id="0" name=""/>
        <dsp:cNvSpPr/>
      </dsp:nvSpPr>
      <dsp:spPr>
        <a:xfrm>
          <a:off x="4533272" y="1722535"/>
          <a:ext cx="16551714" cy="5382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0" dirty="0"/>
            <a:t>професіоналів із вищою немедичною освітою, які працюють у сфері охорони здоров'я</a:t>
          </a:r>
          <a:endParaRPr lang="uk-UA" sz="3200" b="0" kern="1200" noProof="0" dirty="0"/>
        </a:p>
      </dsp:txBody>
      <dsp:txXfrm>
        <a:off x="4533272" y="1722535"/>
        <a:ext cx="16551714" cy="538292"/>
      </dsp:txXfrm>
    </dsp:sp>
    <dsp:sp modelId="{7FC7453B-73F0-4270-9B5F-B3B55792FEA0}">
      <dsp:nvSpPr>
        <dsp:cNvPr id="0" name=""/>
        <dsp:cNvSpPr/>
      </dsp:nvSpPr>
      <dsp:spPr>
        <a:xfrm>
          <a:off x="4216997" y="2260828"/>
          <a:ext cx="16867989"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55A08FE-FD09-47EC-BA6F-04917EE64854}">
      <dsp:nvSpPr>
        <dsp:cNvPr id="0" name=""/>
        <dsp:cNvSpPr/>
      </dsp:nvSpPr>
      <dsp:spPr>
        <a:xfrm>
          <a:off x="0" y="2289559"/>
          <a:ext cx="2108498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0C88A1-330B-43B2-B1FF-0EB9B5183A27}">
      <dsp:nvSpPr>
        <dsp:cNvPr id="0" name=""/>
        <dsp:cNvSpPr/>
      </dsp:nvSpPr>
      <dsp:spPr>
        <a:xfrm>
          <a:off x="0" y="2289559"/>
          <a:ext cx="4216997" cy="2289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0" dirty="0"/>
            <a:t>Поновлення атестації</a:t>
          </a:r>
          <a:endParaRPr lang="uk-UA" sz="3200" b="0" kern="1200" noProof="0" dirty="0"/>
        </a:p>
      </dsp:txBody>
      <dsp:txXfrm>
        <a:off x="0" y="2289559"/>
        <a:ext cx="4216997" cy="2289559"/>
      </dsp:txXfrm>
    </dsp:sp>
    <dsp:sp modelId="{E8D5A14A-DA25-465F-B171-50F6C26FCF65}">
      <dsp:nvSpPr>
        <dsp:cNvPr id="0" name=""/>
        <dsp:cNvSpPr/>
      </dsp:nvSpPr>
      <dsp:spPr>
        <a:xfrm>
          <a:off x="4533272" y="2393528"/>
          <a:ext cx="16551714" cy="2079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0" dirty="0"/>
            <a:t>через 60 днів після закінчення воєнного стану. </a:t>
          </a:r>
          <a:endParaRPr lang="uk-UA" sz="3200" b="0" kern="1200" noProof="0" dirty="0"/>
        </a:p>
      </dsp:txBody>
      <dsp:txXfrm>
        <a:off x="4533272" y="2393528"/>
        <a:ext cx="16551714" cy="2079385"/>
      </dsp:txXfrm>
    </dsp:sp>
    <dsp:sp modelId="{A96769FA-FB63-40C7-A1A2-EE2DF16BA086}">
      <dsp:nvSpPr>
        <dsp:cNvPr id="0" name=""/>
        <dsp:cNvSpPr/>
      </dsp:nvSpPr>
      <dsp:spPr>
        <a:xfrm>
          <a:off x="4216997" y="4472913"/>
          <a:ext cx="16867989"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76D8D8A-A42F-4CE1-BEF2-68629A7DD9CA}">
      <dsp:nvSpPr>
        <dsp:cNvPr id="0" name=""/>
        <dsp:cNvSpPr/>
      </dsp:nvSpPr>
      <dsp:spPr>
        <a:xfrm>
          <a:off x="0" y="4579118"/>
          <a:ext cx="2108498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666B7E4-1EEE-468A-A2F0-57C1497D3EEA}">
      <dsp:nvSpPr>
        <dsp:cNvPr id="0" name=""/>
        <dsp:cNvSpPr/>
      </dsp:nvSpPr>
      <dsp:spPr>
        <a:xfrm>
          <a:off x="0" y="4579118"/>
          <a:ext cx="4216997" cy="2289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0" dirty="0"/>
            <a:t>Строк дії </a:t>
          </a:r>
          <a:r>
            <a:rPr lang="uk-UA" sz="2800" b="0" i="0" kern="1200" noProof="0" dirty="0"/>
            <a:t>сертифікатів спеціаліста і посвідчень про кваліфікаційну категорію</a:t>
          </a:r>
          <a:endParaRPr lang="uk-UA" sz="2800" b="0" kern="1200" noProof="0" dirty="0"/>
        </a:p>
      </dsp:txBody>
      <dsp:txXfrm>
        <a:off x="0" y="4579118"/>
        <a:ext cx="4216997" cy="2289559"/>
      </dsp:txXfrm>
    </dsp:sp>
    <dsp:sp modelId="{0EF43875-3311-470A-B7ED-AEF1282D51BA}">
      <dsp:nvSpPr>
        <dsp:cNvPr id="0" name=""/>
        <dsp:cNvSpPr/>
      </dsp:nvSpPr>
      <dsp:spPr>
        <a:xfrm>
          <a:off x="4533272" y="4683088"/>
          <a:ext cx="16551714" cy="2079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0" dirty="0"/>
            <a:t>Якщо завершили дію в період воєнного стану - продовжується на 1 рік. Для цього керівник закладу охорони здоров'я за місцем роботи медика має видати спеціальний наказ</a:t>
          </a:r>
          <a:endParaRPr lang="uk-UA" sz="3200" b="0" kern="1200" noProof="0" dirty="0"/>
        </a:p>
      </dsp:txBody>
      <dsp:txXfrm>
        <a:off x="4533272" y="4683088"/>
        <a:ext cx="16551714" cy="2079385"/>
      </dsp:txXfrm>
    </dsp:sp>
    <dsp:sp modelId="{118E0F55-51C3-4EBC-8AE7-C347392381B5}">
      <dsp:nvSpPr>
        <dsp:cNvPr id="0" name=""/>
        <dsp:cNvSpPr/>
      </dsp:nvSpPr>
      <dsp:spPr>
        <a:xfrm>
          <a:off x="4216997" y="6762473"/>
          <a:ext cx="16867989"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9A5849-090A-434A-A24F-6712A0F6F92A}">
      <dsp:nvSpPr>
        <dsp:cNvPr id="0" name=""/>
        <dsp:cNvSpPr/>
      </dsp:nvSpPr>
      <dsp:spPr>
        <a:xfrm>
          <a:off x="0" y="6868678"/>
          <a:ext cx="2108498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17A7F34-0D1A-479C-ACD4-BA5D494080D6}">
      <dsp:nvSpPr>
        <dsp:cNvPr id="0" name=""/>
        <dsp:cNvSpPr/>
      </dsp:nvSpPr>
      <dsp:spPr>
        <a:xfrm>
          <a:off x="0" y="6868678"/>
          <a:ext cx="4216997" cy="2289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kern="1200" noProof="0" dirty="0">
              <a:highlight>
                <a:srgbClr val="00FFFF"/>
              </a:highlight>
            </a:rPr>
            <a:t>Наказ МОЗ від 07.02.2022 № 426</a:t>
          </a:r>
        </a:p>
        <a:p>
          <a:pPr lvl="0" algn="l" defTabSz="1422400">
            <a:lnSpc>
              <a:spcPct val="90000"/>
            </a:lnSpc>
            <a:spcBef>
              <a:spcPct val="0"/>
            </a:spcBef>
            <a:spcAft>
              <a:spcPct val="35000"/>
            </a:spcAft>
          </a:pPr>
          <a:r>
            <a:rPr lang="uk-UA" sz="3200" b="0" kern="1200" noProof="0" dirty="0"/>
            <a:t>Зупинення атестації</a:t>
          </a:r>
        </a:p>
      </dsp:txBody>
      <dsp:txXfrm>
        <a:off x="0" y="6868678"/>
        <a:ext cx="4216997" cy="2289559"/>
      </dsp:txXfrm>
    </dsp:sp>
    <dsp:sp modelId="{CAB1CC50-ED81-4297-A0D9-B165E0E8F25C}">
      <dsp:nvSpPr>
        <dsp:cNvPr id="0" name=""/>
        <dsp:cNvSpPr/>
      </dsp:nvSpPr>
      <dsp:spPr>
        <a:xfrm>
          <a:off x="4533272" y="6972647"/>
          <a:ext cx="16551714" cy="2079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0" dirty="0"/>
            <a:t>медиків</a:t>
          </a:r>
        </a:p>
        <a:p>
          <a:pPr lvl="0" algn="l" defTabSz="1422400">
            <a:lnSpc>
              <a:spcPct val="90000"/>
            </a:lnSpc>
            <a:spcBef>
              <a:spcPct val="0"/>
            </a:spcBef>
            <a:spcAft>
              <a:spcPct val="35000"/>
            </a:spcAft>
          </a:pPr>
          <a:r>
            <a:rPr lang="uk-UA" sz="3200" b="0" i="0" kern="1200" noProof="0" dirty="0"/>
            <a:t>фармацевтів</a:t>
          </a:r>
          <a:endParaRPr lang="uk-UA" sz="3200" b="0" kern="1200" noProof="0" dirty="0"/>
        </a:p>
      </dsp:txBody>
      <dsp:txXfrm>
        <a:off x="4533272" y="6972647"/>
        <a:ext cx="16551714" cy="2079385"/>
      </dsp:txXfrm>
    </dsp:sp>
    <dsp:sp modelId="{BAF35497-274E-4860-BD96-579A55A1A0B6}">
      <dsp:nvSpPr>
        <dsp:cNvPr id="0" name=""/>
        <dsp:cNvSpPr/>
      </dsp:nvSpPr>
      <dsp:spPr>
        <a:xfrm>
          <a:off x="4216997" y="9052032"/>
          <a:ext cx="16867989"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2E8F62-064D-4E4D-B313-7141E2686885}">
      <dsp:nvSpPr>
        <dsp:cNvPr id="0" name=""/>
        <dsp:cNvSpPr/>
      </dsp:nvSpPr>
      <dsp:spPr>
        <a:xfrm>
          <a:off x="0" y="59403"/>
          <a:ext cx="19740282" cy="30303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lvl="0" algn="l" defTabSz="1644650">
            <a:lnSpc>
              <a:spcPct val="90000"/>
            </a:lnSpc>
            <a:spcBef>
              <a:spcPct val="0"/>
            </a:spcBef>
            <a:spcAft>
              <a:spcPct val="35000"/>
            </a:spcAft>
          </a:pPr>
          <a:r>
            <a:rPr lang="uk-UA" sz="3700" b="0" i="0" kern="1200" noProof="0" dirty="0">
              <a:solidFill>
                <a:schemeClr val="tx1"/>
              </a:solidFill>
            </a:rPr>
            <a:t>До початку роботи роботодавець зобов’язаний в узгоджений із працівником спосіб поінформувати працівника про наявність на робочому місці небезпечних і шкідливих виробничих факторів, які ще не усунуто, та можливі наслідки їх впливу на здоров’я, а також про право на пільги і компенсації за роботу в таких умовах відповідно до законодавства і колективного договору - під підпис</a:t>
          </a:r>
          <a:endParaRPr lang="uk-UA" sz="3700" kern="1200" noProof="0" dirty="0">
            <a:solidFill>
              <a:schemeClr val="tx1"/>
            </a:solidFill>
          </a:endParaRPr>
        </a:p>
      </dsp:txBody>
      <dsp:txXfrm>
        <a:off x="147927" y="207330"/>
        <a:ext cx="19444428" cy="2734446"/>
      </dsp:txXfrm>
    </dsp:sp>
    <dsp:sp modelId="{0A67EB03-220D-459E-AD16-7C325C118B42}">
      <dsp:nvSpPr>
        <dsp:cNvPr id="0" name=""/>
        <dsp:cNvSpPr/>
      </dsp:nvSpPr>
      <dsp:spPr>
        <a:xfrm>
          <a:off x="0" y="3089703"/>
          <a:ext cx="19740282"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26754" tIns="46990" rIns="263144" bIns="46990" numCol="1" spcCol="1270" anchor="t" anchorCtr="0">
          <a:noAutofit/>
        </a:bodyPr>
        <a:lstStyle/>
        <a:p>
          <a:pPr marL="285750" lvl="1" indent="-285750" algn="l" defTabSz="1289050">
            <a:lnSpc>
              <a:spcPct val="90000"/>
            </a:lnSpc>
            <a:spcBef>
              <a:spcPct val="0"/>
            </a:spcBef>
            <a:spcAft>
              <a:spcPct val="20000"/>
            </a:spcAft>
            <a:buChar char="••"/>
          </a:pPr>
          <a:r>
            <a:rPr lang="uk-UA" sz="2900" kern="1200" noProof="0" dirty="0"/>
            <a:t>Ст. 29 КЗпП</a:t>
          </a:r>
        </a:p>
      </dsp:txBody>
      <dsp:txXfrm>
        <a:off x="0" y="3089703"/>
        <a:ext cx="19740282" cy="612720"/>
      </dsp:txXfrm>
    </dsp:sp>
    <dsp:sp modelId="{1BEBC046-B03D-447B-9BCD-06F0FF989C7A}">
      <dsp:nvSpPr>
        <dsp:cNvPr id="0" name=""/>
        <dsp:cNvSpPr/>
      </dsp:nvSpPr>
      <dsp:spPr>
        <a:xfrm>
          <a:off x="0" y="3702423"/>
          <a:ext cx="19740282" cy="30303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lvl="0" algn="l" defTabSz="1644650">
            <a:lnSpc>
              <a:spcPct val="90000"/>
            </a:lnSpc>
            <a:spcBef>
              <a:spcPct val="0"/>
            </a:spcBef>
            <a:spcAft>
              <a:spcPct val="35000"/>
            </a:spcAft>
          </a:pPr>
          <a:r>
            <a:rPr lang="uk-UA" sz="3700" b="0" i="0" kern="1200" noProof="0" dirty="0">
              <a:solidFill>
                <a:schemeClr val="tx1"/>
              </a:solidFill>
            </a:rPr>
            <a:t>Інформація про наявність на робочому місці небезпечних і шкідливих виробничих факторів, які ще не усунуто, та можливі наслідки їх впливу на здоров’я, а також про право на пільги і компенсації за роботу в таких умовах відповідно до законодавства і колективного договору доводиться працівнику під підпис.</a:t>
          </a:r>
          <a:endParaRPr lang="uk-UA" sz="3700" kern="1200" noProof="0" dirty="0">
            <a:solidFill>
              <a:schemeClr val="tx1"/>
            </a:solidFill>
          </a:endParaRPr>
        </a:p>
      </dsp:txBody>
      <dsp:txXfrm>
        <a:off x="147927" y="3850350"/>
        <a:ext cx="19444428" cy="2734446"/>
      </dsp:txXfrm>
    </dsp:sp>
    <dsp:sp modelId="{C30CC04E-3FA5-48A3-A7CC-978E0E112F77}">
      <dsp:nvSpPr>
        <dsp:cNvPr id="0" name=""/>
        <dsp:cNvSpPr/>
      </dsp:nvSpPr>
      <dsp:spPr>
        <a:xfrm>
          <a:off x="0" y="6732723"/>
          <a:ext cx="19740282"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26754" tIns="46990" rIns="263144" bIns="46990" numCol="1" spcCol="1270" anchor="t" anchorCtr="0">
          <a:noAutofit/>
        </a:bodyPr>
        <a:lstStyle/>
        <a:p>
          <a:pPr marL="285750" lvl="1" indent="-285750" algn="l" defTabSz="1289050">
            <a:lnSpc>
              <a:spcPct val="90000"/>
            </a:lnSpc>
            <a:spcBef>
              <a:spcPct val="0"/>
            </a:spcBef>
            <a:spcAft>
              <a:spcPct val="20000"/>
            </a:spcAft>
            <a:buChar char="••"/>
          </a:pPr>
          <a:r>
            <a:rPr lang="uk-UA" sz="2900" kern="1200" noProof="0" dirty="0"/>
            <a:t>Роз’яснення НАДС </a:t>
          </a:r>
        </a:p>
      </dsp:txBody>
      <dsp:txXfrm>
        <a:off x="0" y="6732723"/>
        <a:ext cx="19740282" cy="61272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5D76B-DF2D-4AC5-BC5C-4DC5F2CDA9BF}">
      <dsp:nvSpPr>
        <dsp:cNvPr id="0" name=""/>
        <dsp:cNvSpPr/>
      </dsp:nvSpPr>
      <dsp:spPr>
        <a:xfrm>
          <a:off x="-10722525" y="-1636055"/>
          <a:ext cx="12752663" cy="12752663"/>
        </a:xfrm>
        <a:prstGeom prst="blockArc">
          <a:avLst>
            <a:gd name="adj1" fmla="val 18900000"/>
            <a:gd name="adj2" fmla="val 2700000"/>
            <a:gd name="adj3" fmla="val 169"/>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40D14A-1552-45F8-B646-25EC345927D3}">
      <dsp:nvSpPr>
        <dsp:cNvPr id="0" name=""/>
        <dsp:cNvSpPr/>
      </dsp:nvSpPr>
      <dsp:spPr>
        <a:xfrm>
          <a:off x="885060" y="592344"/>
          <a:ext cx="19091003" cy="1185448"/>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40950" tIns="66040" rIns="66040" bIns="66040" numCol="1" spcCol="1270" anchor="ctr" anchorCtr="0">
          <a:noAutofit/>
        </a:bodyPr>
        <a:lstStyle/>
        <a:p>
          <a:pPr lvl="0" algn="l" defTabSz="1155700">
            <a:lnSpc>
              <a:spcPct val="90000"/>
            </a:lnSpc>
            <a:spcBef>
              <a:spcPct val="0"/>
            </a:spcBef>
            <a:spcAft>
              <a:spcPct val="35000"/>
            </a:spcAft>
          </a:pPr>
          <a:r>
            <a:rPr lang="uk-UA" sz="2600" b="1" i="0" kern="1200" noProof="0" dirty="0"/>
            <a:t>Неможливість забезпечення працівника роботою, визначеною трудовим договором, у зв’язку із знищенням (відсутністю) виробничих, організаційних та технічних умов, засобів виробництва або майна роботодавця внаслідок бойових дій.</a:t>
          </a:r>
          <a:endParaRPr lang="uk-UA" sz="2600" kern="1200" noProof="0" dirty="0"/>
        </a:p>
      </dsp:txBody>
      <dsp:txXfrm>
        <a:off x="885060" y="592344"/>
        <a:ext cx="19091003" cy="1185448"/>
      </dsp:txXfrm>
    </dsp:sp>
    <dsp:sp modelId="{ECC955C3-5D34-4FC6-A818-F49825C32922}">
      <dsp:nvSpPr>
        <dsp:cNvPr id="0" name=""/>
        <dsp:cNvSpPr/>
      </dsp:nvSpPr>
      <dsp:spPr>
        <a:xfrm>
          <a:off x="144155" y="444163"/>
          <a:ext cx="1481810" cy="148181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DD37329B-C813-401D-8DF3-678E96FC6A44}">
      <dsp:nvSpPr>
        <dsp:cNvPr id="0" name=""/>
        <dsp:cNvSpPr/>
      </dsp:nvSpPr>
      <dsp:spPr>
        <a:xfrm>
          <a:off x="1734518" y="2369948"/>
          <a:ext cx="18241545" cy="1185448"/>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40950" tIns="66040" rIns="66040" bIns="66040" numCol="1" spcCol="1270" anchor="ctr" anchorCtr="0">
          <a:noAutofit/>
        </a:bodyPr>
        <a:lstStyle/>
        <a:p>
          <a:pPr lvl="0" algn="l" defTabSz="1155700">
            <a:lnSpc>
              <a:spcPct val="90000"/>
            </a:lnSpc>
            <a:spcBef>
              <a:spcPct val="0"/>
            </a:spcBef>
            <a:spcAft>
              <a:spcPct val="35000"/>
            </a:spcAft>
            <a:buFont typeface="Arial" panose="020B0604020202020204" pitchFamily="34" charset="0"/>
            <a:buChar char="•"/>
          </a:pPr>
          <a:r>
            <a:rPr lang="uk-UA" sz="2600" b="0" i="0" kern="1200" noProof="0" dirty="0"/>
            <a:t>матеріали технічної інвентаризації, що засвідчують факт знищення майна;</a:t>
          </a:r>
          <a:endParaRPr lang="uk-UA" sz="2600" kern="1200" noProof="0" dirty="0"/>
        </a:p>
      </dsp:txBody>
      <dsp:txXfrm>
        <a:off x="1734518" y="2369948"/>
        <a:ext cx="18241545" cy="1185448"/>
      </dsp:txXfrm>
    </dsp:sp>
    <dsp:sp modelId="{3326FFFF-65EA-4C8F-9DDB-09F5C782EB13}">
      <dsp:nvSpPr>
        <dsp:cNvPr id="0" name=""/>
        <dsp:cNvSpPr/>
      </dsp:nvSpPr>
      <dsp:spPr>
        <a:xfrm>
          <a:off x="993612" y="2221767"/>
          <a:ext cx="1481810" cy="148181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24F83A84-A2D0-4F1A-9E19-08F42F23C634}">
      <dsp:nvSpPr>
        <dsp:cNvPr id="0" name=""/>
        <dsp:cNvSpPr/>
      </dsp:nvSpPr>
      <dsp:spPr>
        <a:xfrm>
          <a:off x="1995233" y="4147552"/>
          <a:ext cx="17980830" cy="1185448"/>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40950" tIns="66040" rIns="66040" bIns="66040" numCol="1" spcCol="1270" anchor="ctr" anchorCtr="0">
          <a:noAutofit/>
        </a:bodyPr>
        <a:lstStyle/>
        <a:p>
          <a:pPr lvl="0" algn="l" defTabSz="1155700">
            <a:lnSpc>
              <a:spcPct val="90000"/>
            </a:lnSpc>
            <a:spcBef>
              <a:spcPct val="0"/>
            </a:spcBef>
            <a:spcAft>
              <a:spcPct val="35000"/>
            </a:spcAft>
            <a:buFont typeface="Arial" panose="020B0604020202020204" pitchFamily="34" charset="0"/>
            <a:buChar char="•"/>
          </a:pPr>
          <a:r>
            <a:rPr lang="uk-UA" sz="2600" b="0" i="0" kern="1200" noProof="0" dirty="0"/>
            <a:t>довідки органів внутрішніх справ України; </a:t>
          </a:r>
        </a:p>
      </dsp:txBody>
      <dsp:txXfrm>
        <a:off x="1995233" y="4147552"/>
        <a:ext cx="17980830" cy="1185448"/>
      </dsp:txXfrm>
    </dsp:sp>
    <dsp:sp modelId="{ADAD3CFB-1C50-4FC6-827E-DEAA04F6764B}">
      <dsp:nvSpPr>
        <dsp:cNvPr id="0" name=""/>
        <dsp:cNvSpPr/>
      </dsp:nvSpPr>
      <dsp:spPr>
        <a:xfrm>
          <a:off x="1254328" y="3999371"/>
          <a:ext cx="1481810" cy="148181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E88B491D-EB04-4CCF-A305-58B35E69B3D8}">
      <dsp:nvSpPr>
        <dsp:cNvPr id="0" name=""/>
        <dsp:cNvSpPr/>
      </dsp:nvSpPr>
      <dsp:spPr>
        <a:xfrm>
          <a:off x="1734518" y="5925156"/>
          <a:ext cx="18241545" cy="1185448"/>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40950" tIns="66040" rIns="66040" bIns="66040" numCol="1" spcCol="1270" anchor="ctr" anchorCtr="0">
          <a:noAutofit/>
        </a:bodyPr>
        <a:lstStyle/>
        <a:p>
          <a:pPr lvl="0" algn="l" defTabSz="1155700">
            <a:lnSpc>
              <a:spcPct val="90000"/>
            </a:lnSpc>
            <a:spcBef>
              <a:spcPct val="0"/>
            </a:spcBef>
            <a:spcAft>
              <a:spcPct val="35000"/>
            </a:spcAft>
            <a:buFont typeface="Arial" panose="020B0604020202020204" pitchFamily="34" charset="0"/>
            <a:buChar char="•"/>
          </a:pPr>
          <a:r>
            <a:rPr lang="uk-UA" sz="2600" b="0" i="0" kern="1200" noProof="0" dirty="0"/>
            <a:t>акт про пожежу;</a:t>
          </a:r>
        </a:p>
      </dsp:txBody>
      <dsp:txXfrm>
        <a:off x="1734518" y="5925156"/>
        <a:ext cx="18241545" cy="1185448"/>
      </dsp:txXfrm>
    </dsp:sp>
    <dsp:sp modelId="{42E035BA-DFFF-463F-AFEA-72211528FA62}">
      <dsp:nvSpPr>
        <dsp:cNvPr id="0" name=""/>
        <dsp:cNvSpPr/>
      </dsp:nvSpPr>
      <dsp:spPr>
        <a:xfrm>
          <a:off x="993612" y="5776974"/>
          <a:ext cx="1481810" cy="148181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E7744179-C827-4CAC-A6FF-0C749238C7B2}">
      <dsp:nvSpPr>
        <dsp:cNvPr id="0" name=""/>
        <dsp:cNvSpPr/>
      </dsp:nvSpPr>
      <dsp:spPr>
        <a:xfrm>
          <a:off x="885060" y="7702759"/>
          <a:ext cx="19091003" cy="1185448"/>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40950" tIns="66040" rIns="66040" bIns="66040" numCol="1" spcCol="1270" anchor="ctr" anchorCtr="0">
          <a:noAutofit/>
        </a:bodyPr>
        <a:lstStyle/>
        <a:p>
          <a:pPr lvl="0" algn="l" defTabSz="1155700">
            <a:lnSpc>
              <a:spcPct val="90000"/>
            </a:lnSpc>
            <a:spcBef>
              <a:spcPct val="0"/>
            </a:spcBef>
            <a:spcAft>
              <a:spcPct val="35000"/>
            </a:spcAft>
            <a:buFont typeface="Arial" panose="020B0604020202020204" pitchFamily="34" charset="0"/>
            <a:buChar char="•"/>
          </a:pPr>
          <a:r>
            <a:rPr lang="uk-UA" sz="2600" b="0" i="0" kern="1200" noProof="0" dirty="0"/>
            <a:t>офіційні висновки інших установ або організацій, які відповідно до законодавства уповноважені засвідчувати факт знищення майна тощо</a:t>
          </a:r>
        </a:p>
      </dsp:txBody>
      <dsp:txXfrm>
        <a:off x="885060" y="7702759"/>
        <a:ext cx="19091003" cy="1185448"/>
      </dsp:txXfrm>
    </dsp:sp>
    <dsp:sp modelId="{9FD937A0-DBBD-4759-9FDD-39C3064B336A}">
      <dsp:nvSpPr>
        <dsp:cNvPr id="0" name=""/>
        <dsp:cNvSpPr/>
      </dsp:nvSpPr>
      <dsp:spPr>
        <a:xfrm>
          <a:off x="144155" y="7554578"/>
          <a:ext cx="1481810" cy="148181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5D76B-DF2D-4AC5-BC5C-4DC5F2CDA9BF}">
      <dsp:nvSpPr>
        <dsp:cNvPr id="0" name=""/>
        <dsp:cNvSpPr/>
      </dsp:nvSpPr>
      <dsp:spPr>
        <a:xfrm>
          <a:off x="-10708355" y="-1636055"/>
          <a:ext cx="12752663" cy="12752663"/>
        </a:xfrm>
        <a:prstGeom prst="blockArc">
          <a:avLst>
            <a:gd name="adj1" fmla="val 18900000"/>
            <a:gd name="adj2" fmla="val 2700000"/>
            <a:gd name="adj3" fmla="val 169"/>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B0BB715-0552-4395-B878-25C19DD90BAF}">
      <dsp:nvSpPr>
        <dsp:cNvPr id="0" name=""/>
        <dsp:cNvSpPr/>
      </dsp:nvSpPr>
      <dsp:spPr>
        <a:xfrm>
          <a:off x="665060" y="430985"/>
          <a:ext cx="19325172"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buFont typeface="Arial" panose="020B0604020202020204" pitchFamily="34" charset="0"/>
            <a:buChar char="•"/>
          </a:pPr>
          <a:r>
            <a:rPr lang="ru-RU" sz="2700" b="0" i="0" kern="1200"/>
            <a:t>закладів дошкільної освіти;</a:t>
          </a:r>
        </a:p>
      </dsp:txBody>
      <dsp:txXfrm>
        <a:off x="665060" y="430985"/>
        <a:ext cx="19325172" cy="861592"/>
      </dsp:txXfrm>
    </dsp:sp>
    <dsp:sp modelId="{48A2F3B9-E676-46B2-8503-2CBCCB844E7C}">
      <dsp:nvSpPr>
        <dsp:cNvPr id="0" name=""/>
        <dsp:cNvSpPr/>
      </dsp:nvSpPr>
      <dsp:spPr>
        <a:xfrm>
          <a:off x="126565" y="323286"/>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4218170E-CE44-442F-87F7-B3990906ECE3}">
      <dsp:nvSpPr>
        <dsp:cNvPr id="0" name=""/>
        <dsp:cNvSpPr/>
      </dsp:nvSpPr>
      <dsp:spPr>
        <a:xfrm>
          <a:off x="1445310" y="1724133"/>
          <a:ext cx="18544923"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buFont typeface="Arial" panose="020B0604020202020204" pitchFamily="34" charset="0"/>
            <a:buChar char="•"/>
          </a:pPr>
          <a:r>
            <a:rPr lang="ru-RU" sz="2700" b="0" i="0" kern="1200"/>
            <a:t>закладів позашкільної освіти;</a:t>
          </a:r>
        </a:p>
      </dsp:txBody>
      <dsp:txXfrm>
        <a:off x="1445310" y="1724133"/>
        <a:ext cx="18544923" cy="861592"/>
      </dsp:txXfrm>
    </dsp:sp>
    <dsp:sp modelId="{FCA6BED0-7A3A-4C6E-84A5-7F3F608340FA}">
      <dsp:nvSpPr>
        <dsp:cNvPr id="0" name=""/>
        <dsp:cNvSpPr/>
      </dsp:nvSpPr>
      <dsp:spPr>
        <a:xfrm>
          <a:off x="906814" y="1616434"/>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9DB6A7BA-7005-4F64-B940-EEF9D32C1920}">
      <dsp:nvSpPr>
        <dsp:cNvPr id="0" name=""/>
        <dsp:cNvSpPr/>
      </dsp:nvSpPr>
      <dsp:spPr>
        <a:xfrm>
          <a:off x="1872883" y="3016332"/>
          <a:ext cx="18117350"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buFont typeface="Arial" panose="020B0604020202020204" pitchFamily="34" charset="0"/>
            <a:buChar char="•"/>
          </a:pPr>
          <a:r>
            <a:rPr lang="ru-RU" sz="2700" b="0" i="0" kern="1200"/>
            <a:t>закладів загальної середньої освіти, міжшкільних навчально-виробничих комбінатів;</a:t>
          </a:r>
        </a:p>
      </dsp:txBody>
      <dsp:txXfrm>
        <a:off x="1872883" y="3016332"/>
        <a:ext cx="18117350" cy="861592"/>
      </dsp:txXfrm>
    </dsp:sp>
    <dsp:sp modelId="{365C7217-9AFE-4CF5-BEA7-44017CD66F8E}">
      <dsp:nvSpPr>
        <dsp:cNvPr id="0" name=""/>
        <dsp:cNvSpPr/>
      </dsp:nvSpPr>
      <dsp:spPr>
        <a:xfrm>
          <a:off x="1334387" y="2908633"/>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E37F734D-4C9B-4653-A074-B06A20C5E62B}">
      <dsp:nvSpPr>
        <dsp:cNvPr id="0" name=""/>
        <dsp:cNvSpPr/>
      </dsp:nvSpPr>
      <dsp:spPr>
        <a:xfrm>
          <a:off x="2009403" y="4309480"/>
          <a:ext cx="17980830"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buFont typeface="Arial" panose="020B0604020202020204" pitchFamily="34" charset="0"/>
            <a:buChar char="•"/>
          </a:pPr>
          <a:r>
            <a:rPr lang="ru-RU" sz="2700" b="0" i="0" kern="1200"/>
            <a:t>закладів вищої освіти, закладів післядипломної освіти, закладів професійної (професійно-технічної) освіти;</a:t>
          </a:r>
        </a:p>
      </dsp:txBody>
      <dsp:txXfrm>
        <a:off x="2009403" y="4309480"/>
        <a:ext cx="17980830" cy="861592"/>
      </dsp:txXfrm>
    </dsp:sp>
    <dsp:sp modelId="{EEEBD3BB-C623-451D-8ABF-41D51F1503E0}">
      <dsp:nvSpPr>
        <dsp:cNvPr id="0" name=""/>
        <dsp:cNvSpPr/>
      </dsp:nvSpPr>
      <dsp:spPr>
        <a:xfrm>
          <a:off x="1470907" y="4201781"/>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D603FD33-D415-4B09-958B-7C8C0DE44A9E}">
      <dsp:nvSpPr>
        <dsp:cNvPr id="0" name=""/>
        <dsp:cNvSpPr/>
      </dsp:nvSpPr>
      <dsp:spPr>
        <a:xfrm>
          <a:off x="1872883" y="5602627"/>
          <a:ext cx="18117350"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buFont typeface="Arial" panose="020B0604020202020204" pitchFamily="34" charset="0"/>
            <a:buChar char="•"/>
          </a:pPr>
          <a:r>
            <a:rPr lang="ru-RU" sz="2700" b="0" i="0" kern="1200"/>
            <a:t>інших закладів освіти та установ, що провадять освітню діяльність;</a:t>
          </a:r>
        </a:p>
      </dsp:txBody>
      <dsp:txXfrm>
        <a:off x="1872883" y="5602627"/>
        <a:ext cx="18117350" cy="861592"/>
      </dsp:txXfrm>
    </dsp:sp>
    <dsp:sp modelId="{C2C6F9E5-1B63-4E74-823A-BC41D5EA4914}">
      <dsp:nvSpPr>
        <dsp:cNvPr id="0" name=""/>
        <dsp:cNvSpPr/>
      </dsp:nvSpPr>
      <dsp:spPr>
        <a:xfrm>
          <a:off x="1334387" y="5494928"/>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C9D98C67-D4F9-4184-9B4C-17EED330D7BE}">
      <dsp:nvSpPr>
        <dsp:cNvPr id="0" name=""/>
        <dsp:cNvSpPr/>
      </dsp:nvSpPr>
      <dsp:spPr>
        <a:xfrm>
          <a:off x="1445310" y="6894826"/>
          <a:ext cx="18544923"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buFont typeface="Arial" panose="020B0604020202020204" pitchFamily="34" charset="0"/>
            <a:buChar char="•"/>
          </a:pPr>
          <a:r>
            <a:rPr lang="ru-RU" sz="2700" b="0" i="0" kern="1200"/>
            <a:t>лікувально-профілактичних та санаторно-курортних закладів, будинків дитини;</a:t>
          </a:r>
        </a:p>
      </dsp:txBody>
      <dsp:txXfrm>
        <a:off x="1445310" y="6894826"/>
        <a:ext cx="18544923" cy="861592"/>
      </dsp:txXfrm>
    </dsp:sp>
    <dsp:sp modelId="{BE006B2D-7F1D-416F-9AF2-462ADA8D051F}">
      <dsp:nvSpPr>
        <dsp:cNvPr id="0" name=""/>
        <dsp:cNvSpPr/>
      </dsp:nvSpPr>
      <dsp:spPr>
        <a:xfrm>
          <a:off x="906814" y="6787127"/>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54A5CF6F-427D-48E6-B3FF-FD9906C1CC28}">
      <dsp:nvSpPr>
        <dsp:cNvPr id="0" name=""/>
        <dsp:cNvSpPr/>
      </dsp:nvSpPr>
      <dsp:spPr>
        <a:xfrm>
          <a:off x="665060" y="8187974"/>
          <a:ext cx="19325172"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buFont typeface="Arial" panose="020B0604020202020204" pitchFamily="34" charset="0"/>
            <a:buChar char="•"/>
          </a:pPr>
          <a:r>
            <a:rPr lang="ru-RU" sz="2700" b="0" i="0" kern="1200"/>
            <a:t>центрів реабілітації осіб з інвалідністю, дітей</a:t>
          </a:r>
        </a:p>
      </dsp:txBody>
      <dsp:txXfrm>
        <a:off x="665060" y="8187974"/>
        <a:ext cx="19325172" cy="861592"/>
      </dsp:txXfrm>
    </dsp:sp>
    <dsp:sp modelId="{53AE026A-C757-4438-9761-0F3958253011}">
      <dsp:nvSpPr>
        <dsp:cNvPr id="0" name=""/>
        <dsp:cNvSpPr/>
      </dsp:nvSpPr>
      <dsp:spPr>
        <a:xfrm>
          <a:off x="126565" y="8080275"/>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5D76B-DF2D-4AC5-BC5C-4DC5F2CDA9BF}">
      <dsp:nvSpPr>
        <dsp:cNvPr id="0" name=""/>
        <dsp:cNvSpPr/>
      </dsp:nvSpPr>
      <dsp:spPr>
        <a:xfrm>
          <a:off x="-9836367" y="-1636055"/>
          <a:ext cx="12752663" cy="12752663"/>
        </a:xfrm>
        <a:prstGeom prst="blockArc">
          <a:avLst>
            <a:gd name="adj1" fmla="val 18900000"/>
            <a:gd name="adj2" fmla="val 2700000"/>
            <a:gd name="adj3" fmla="val 169"/>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B0BB715-0552-4395-B878-25C19DD90BAF}">
      <dsp:nvSpPr>
        <dsp:cNvPr id="0" name=""/>
        <dsp:cNvSpPr/>
      </dsp:nvSpPr>
      <dsp:spPr>
        <a:xfrm>
          <a:off x="2845727" y="2463694"/>
          <a:ext cx="17271071" cy="4553163"/>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62594" tIns="106680" rIns="106680" bIns="106680" numCol="1" spcCol="1270" anchor="ctr" anchorCtr="0">
          <a:noAutofit/>
        </a:bodyPr>
        <a:lstStyle/>
        <a:p>
          <a:pPr lvl="0" algn="l" defTabSz="1866900">
            <a:lnSpc>
              <a:spcPct val="90000"/>
            </a:lnSpc>
            <a:spcBef>
              <a:spcPct val="0"/>
            </a:spcBef>
            <a:spcAft>
              <a:spcPct val="35000"/>
            </a:spcAft>
            <a:buFont typeface="Arial" panose="020B0604020202020204" pitchFamily="34" charset="0"/>
            <a:buChar char="•"/>
          </a:pPr>
          <a:r>
            <a:rPr lang="uk-UA" sz="4200" b="0" i="0" kern="1200" noProof="0" dirty="0"/>
            <a:t>під час діє воєнного стану щорічна основна оплачувана відпустка надається всім працівникам, у т. ч. педагогам, тривалістю 24 календарних дні. Тобто роботодавець має право обмежити тривалість відпустки на період воєнного стану, але не зобов’язаний. Невикористана частина відпустки має бути надана педагогу після закінчення воєнного стану</a:t>
          </a:r>
        </a:p>
      </dsp:txBody>
      <dsp:txXfrm>
        <a:off x="2845727" y="2463694"/>
        <a:ext cx="17271071" cy="4553163"/>
      </dsp:txXfrm>
    </dsp:sp>
    <dsp:sp modelId="{48A2F3B9-E676-46B2-8503-2CBCCB844E7C}">
      <dsp:nvSpPr>
        <dsp:cNvPr id="0" name=""/>
        <dsp:cNvSpPr/>
      </dsp:nvSpPr>
      <dsp:spPr>
        <a:xfrm>
          <a:off x="0" y="1894549"/>
          <a:ext cx="5691454" cy="5691454"/>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5D76B-DF2D-4AC5-BC5C-4DC5F2CDA9BF}">
      <dsp:nvSpPr>
        <dsp:cNvPr id="0" name=""/>
        <dsp:cNvSpPr/>
      </dsp:nvSpPr>
      <dsp:spPr>
        <a:xfrm>
          <a:off x="-9836367" y="-1636055"/>
          <a:ext cx="12752663" cy="12752663"/>
        </a:xfrm>
        <a:prstGeom prst="blockArc">
          <a:avLst>
            <a:gd name="adj1" fmla="val 18900000"/>
            <a:gd name="adj2" fmla="val 2700000"/>
            <a:gd name="adj3" fmla="val 169"/>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B0BB715-0552-4395-B878-25C19DD90BAF}">
      <dsp:nvSpPr>
        <dsp:cNvPr id="0" name=""/>
        <dsp:cNvSpPr/>
      </dsp:nvSpPr>
      <dsp:spPr>
        <a:xfrm>
          <a:off x="2845727" y="2463694"/>
          <a:ext cx="17271071" cy="4553163"/>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62594" tIns="109220" rIns="109220" bIns="109220" numCol="1" spcCol="1270" anchor="ctr" anchorCtr="0">
          <a:noAutofit/>
        </a:bodyPr>
        <a:lstStyle/>
        <a:p>
          <a:pPr lvl="0" algn="l" defTabSz="1911350">
            <a:lnSpc>
              <a:spcPct val="90000"/>
            </a:lnSpc>
            <a:spcBef>
              <a:spcPct val="0"/>
            </a:spcBef>
            <a:spcAft>
              <a:spcPct val="35000"/>
            </a:spcAft>
            <a:buFont typeface="Arial" panose="020B0604020202020204" pitchFamily="34" charset="0"/>
            <a:buChar char="•"/>
          </a:pPr>
          <a:r>
            <a:rPr lang="uk-UA" sz="4300" b="1" i="0" kern="1200" noProof="0" dirty="0"/>
            <a:t>Відкликання зі щорічної відпустки</a:t>
          </a:r>
          <a:r>
            <a:rPr lang="uk-UA" sz="4300" b="0" i="0" kern="1200" noProof="0" dirty="0"/>
            <a:t> допускається за згодою педагогічного працівника лише для відвернення стихійного лиха, виробничої аварії або негайного усунення їх наслідків, для відвернення нещасних випадків, простою, загибелі або псування майна закладу та в інших випадках, передбачених законодавством (ч. 3 ст. 12 Закону про відпустки).</a:t>
          </a:r>
        </a:p>
      </dsp:txBody>
      <dsp:txXfrm>
        <a:off x="2845727" y="2463694"/>
        <a:ext cx="17271071" cy="4553163"/>
      </dsp:txXfrm>
    </dsp:sp>
    <dsp:sp modelId="{48A2F3B9-E676-46B2-8503-2CBCCB844E7C}">
      <dsp:nvSpPr>
        <dsp:cNvPr id="0" name=""/>
        <dsp:cNvSpPr/>
      </dsp:nvSpPr>
      <dsp:spPr>
        <a:xfrm>
          <a:off x="0" y="1894549"/>
          <a:ext cx="5691454" cy="5691454"/>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5D76B-DF2D-4AC5-BC5C-4DC5F2CDA9BF}">
      <dsp:nvSpPr>
        <dsp:cNvPr id="0" name=""/>
        <dsp:cNvSpPr/>
      </dsp:nvSpPr>
      <dsp:spPr>
        <a:xfrm>
          <a:off x="-10708355" y="-1636055"/>
          <a:ext cx="12752663" cy="12752663"/>
        </a:xfrm>
        <a:prstGeom prst="blockArc">
          <a:avLst>
            <a:gd name="adj1" fmla="val 18900000"/>
            <a:gd name="adj2" fmla="val 2700000"/>
            <a:gd name="adj3" fmla="val 169"/>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CE960BA-25FA-494A-B364-B6F17006F0BC}">
      <dsp:nvSpPr>
        <dsp:cNvPr id="0" name=""/>
        <dsp:cNvSpPr/>
      </dsp:nvSpPr>
      <dsp:spPr>
        <a:xfrm>
          <a:off x="665060" y="430985"/>
          <a:ext cx="19325172"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pPr>
          <a:r>
            <a:rPr lang="uk-UA" sz="2700" kern="1200" dirty="0"/>
            <a:t>Щодо збереження мережі закладів дошкільної освіти та захисту прав їх працівників</a:t>
          </a:r>
          <a:endParaRPr lang="ru-UA" sz="2700" kern="1200" dirty="0"/>
        </a:p>
      </dsp:txBody>
      <dsp:txXfrm>
        <a:off x="665060" y="430985"/>
        <a:ext cx="19325172" cy="861592"/>
      </dsp:txXfrm>
    </dsp:sp>
    <dsp:sp modelId="{D0FF1707-03FC-4C0B-A8F2-6E4FB3851E37}">
      <dsp:nvSpPr>
        <dsp:cNvPr id="0" name=""/>
        <dsp:cNvSpPr/>
      </dsp:nvSpPr>
      <dsp:spPr>
        <a:xfrm>
          <a:off x="126565" y="323286"/>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35AEFF2D-B71B-426C-AE40-63D98045B13B}">
      <dsp:nvSpPr>
        <dsp:cNvPr id="0" name=""/>
        <dsp:cNvSpPr/>
      </dsp:nvSpPr>
      <dsp:spPr>
        <a:xfrm>
          <a:off x="1445310" y="1724133"/>
          <a:ext cx="18544923"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pPr>
          <a:r>
            <a:rPr lang="uk-UA" sz="2700" kern="1200" dirty="0"/>
            <a:t>провести комплектацію ЗДО із </a:t>
          </a:r>
          <a:r>
            <a:rPr lang="uk-UA" sz="2700" kern="1200" dirty="0" err="1"/>
            <a:t>враховуванням</a:t>
          </a:r>
          <a:r>
            <a:rPr lang="uk-UA" sz="2700" kern="1200" dirty="0"/>
            <a:t> демографічної ситуації в регіоні, освітніх потреб та запитів населення (збереження кількості груп та штатних розписів);</a:t>
          </a:r>
          <a:endParaRPr lang="ru-UA" sz="2700" kern="1200" dirty="0"/>
        </a:p>
      </dsp:txBody>
      <dsp:txXfrm>
        <a:off x="1445310" y="1724133"/>
        <a:ext cx="18544923" cy="861592"/>
      </dsp:txXfrm>
    </dsp:sp>
    <dsp:sp modelId="{CA65F3A6-4922-44CB-9889-6F0E38EB3737}">
      <dsp:nvSpPr>
        <dsp:cNvPr id="0" name=""/>
        <dsp:cNvSpPr/>
      </dsp:nvSpPr>
      <dsp:spPr>
        <a:xfrm>
          <a:off x="906814" y="1616434"/>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33A937CA-648C-435C-B92B-E52B8763FCE1}">
      <dsp:nvSpPr>
        <dsp:cNvPr id="0" name=""/>
        <dsp:cNvSpPr/>
      </dsp:nvSpPr>
      <dsp:spPr>
        <a:xfrm>
          <a:off x="1872883" y="3016332"/>
          <a:ext cx="18117350"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pPr>
          <a:r>
            <a:rPr lang="uk-UA" sz="2700" kern="1200" dirty="0"/>
            <a:t>зберегти мережу спеціальних груп; </a:t>
          </a:r>
          <a:endParaRPr lang="ru-UA" sz="2700" kern="1200" dirty="0"/>
        </a:p>
      </dsp:txBody>
      <dsp:txXfrm>
        <a:off x="1872883" y="3016332"/>
        <a:ext cx="18117350" cy="861592"/>
      </dsp:txXfrm>
    </dsp:sp>
    <dsp:sp modelId="{FDDBDC15-CCA1-450C-A858-89B1F3411143}">
      <dsp:nvSpPr>
        <dsp:cNvPr id="0" name=""/>
        <dsp:cNvSpPr/>
      </dsp:nvSpPr>
      <dsp:spPr>
        <a:xfrm>
          <a:off x="1334387" y="2908633"/>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5694DA7C-D54A-450B-842C-CC82633188F0}">
      <dsp:nvSpPr>
        <dsp:cNvPr id="0" name=""/>
        <dsp:cNvSpPr/>
      </dsp:nvSpPr>
      <dsp:spPr>
        <a:xfrm>
          <a:off x="2009403" y="4309480"/>
          <a:ext cx="17980830"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pPr>
          <a:r>
            <a:rPr lang="uk-UA" sz="2700" kern="1200" dirty="0"/>
            <a:t>сприяти розвитку мережі ЗДО приватної форми власності;</a:t>
          </a:r>
          <a:endParaRPr lang="ru-UA" sz="2700" kern="1200" dirty="0"/>
        </a:p>
      </dsp:txBody>
      <dsp:txXfrm>
        <a:off x="2009403" y="4309480"/>
        <a:ext cx="17980830" cy="861592"/>
      </dsp:txXfrm>
    </dsp:sp>
    <dsp:sp modelId="{48764E5B-FCD9-47BD-9747-7FA4761DAC00}">
      <dsp:nvSpPr>
        <dsp:cNvPr id="0" name=""/>
        <dsp:cNvSpPr/>
      </dsp:nvSpPr>
      <dsp:spPr>
        <a:xfrm>
          <a:off x="1470907" y="4201781"/>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52704F03-1512-40A0-9886-9A4150A0CB9C}">
      <dsp:nvSpPr>
        <dsp:cNvPr id="0" name=""/>
        <dsp:cNvSpPr/>
      </dsp:nvSpPr>
      <dsp:spPr>
        <a:xfrm>
          <a:off x="1872883" y="5602627"/>
          <a:ext cx="18117350"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pPr>
          <a:r>
            <a:rPr lang="uk-UA" sz="2700" kern="1200" dirty="0"/>
            <a:t>розглянути питання щодо можливості відкриття ЗДО (груп) на базі закладів загальної середньої освіти, вищої освіти тощо; </a:t>
          </a:r>
          <a:endParaRPr lang="ru-UA" sz="2700" kern="1200" dirty="0"/>
        </a:p>
      </dsp:txBody>
      <dsp:txXfrm>
        <a:off x="1872883" y="5602627"/>
        <a:ext cx="18117350" cy="861592"/>
      </dsp:txXfrm>
    </dsp:sp>
    <dsp:sp modelId="{5EF37550-80C2-450E-A209-C8060B77643B}">
      <dsp:nvSpPr>
        <dsp:cNvPr id="0" name=""/>
        <dsp:cNvSpPr/>
      </dsp:nvSpPr>
      <dsp:spPr>
        <a:xfrm>
          <a:off x="1334387" y="5494928"/>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06F8FFE5-7755-424E-9855-829510F06D18}">
      <dsp:nvSpPr>
        <dsp:cNvPr id="0" name=""/>
        <dsp:cNvSpPr/>
      </dsp:nvSpPr>
      <dsp:spPr>
        <a:xfrm>
          <a:off x="1445310" y="6894826"/>
          <a:ext cx="18544923"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pPr>
          <a:r>
            <a:rPr lang="uk-UA" sz="2700" kern="1200" dirty="0"/>
            <a:t>відкривати групи з короткотривалим перебуванням дітей, групи «разом з мамами», групи вихідного дня та вечірні, зокрема і для дітей із числа внутрішньо переміщених осіб; </a:t>
          </a:r>
          <a:endParaRPr lang="ru-UA" sz="2700" kern="1200" dirty="0"/>
        </a:p>
      </dsp:txBody>
      <dsp:txXfrm>
        <a:off x="1445310" y="6894826"/>
        <a:ext cx="18544923" cy="861592"/>
      </dsp:txXfrm>
    </dsp:sp>
    <dsp:sp modelId="{80AE99E9-E1CE-4600-A10C-9B51507BC5BC}">
      <dsp:nvSpPr>
        <dsp:cNvPr id="0" name=""/>
        <dsp:cNvSpPr/>
      </dsp:nvSpPr>
      <dsp:spPr>
        <a:xfrm>
          <a:off x="906814" y="6787127"/>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641C7562-ED05-48F7-9E9F-97640C276035}">
      <dsp:nvSpPr>
        <dsp:cNvPr id="0" name=""/>
        <dsp:cNvSpPr/>
      </dsp:nvSpPr>
      <dsp:spPr>
        <a:xfrm>
          <a:off x="665060" y="8187974"/>
          <a:ext cx="19325172" cy="86159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3889" tIns="68580" rIns="68580" bIns="68580" numCol="1" spcCol="1270" anchor="ctr" anchorCtr="0">
          <a:noAutofit/>
        </a:bodyPr>
        <a:lstStyle/>
        <a:p>
          <a:pPr lvl="0" algn="l" defTabSz="1200150">
            <a:lnSpc>
              <a:spcPct val="90000"/>
            </a:lnSpc>
            <a:spcBef>
              <a:spcPct val="0"/>
            </a:spcBef>
            <a:spcAft>
              <a:spcPct val="35000"/>
            </a:spcAft>
          </a:pPr>
          <a:r>
            <a:rPr lang="uk-UA" sz="2700" kern="1200" dirty="0"/>
            <a:t>організації </a:t>
          </a:r>
          <a:r>
            <a:rPr lang="uk-UA" sz="2700" kern="1200" dirty="0" err="1"/>
            <a:t>соціальнопедагогічного</a:t>
          </a:r>
          <a:r>
            <a:rPr lang="uk-UA" sz="2700" kern="1200" dirty="0"/>
            <a:t> патронату</a:t>
          </a:r>
          <a:endParaRPr lang="ru-UA" sz="2700" kern="1200" dirty="0"/>
        </a:p>
      </dsp:txBody>
      <dsp:txXfrm>
        <a:off x="665060" y="8187974"/>
        <a:ext cx="19325172" cy="861592"/>
      </dsp:txXfrm>
    </dsp:sp>
    <dsp:sp modelId="{FC2B678D-D6D1-401E-B412-D9BB61C066F6}">
      <dsp:nvSpPr>
        <dsp:cNvPr id="0" name=""/>
        <dsp:cNvSpPr/>
      </dsp:nvSpPr>
      <dsp:spPr>
        <a:xfrm>
          <a:off x="126565" y="8080275"/>
          <a:ext cx="1076990" cy="1076990"/>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5D76B-DF2D-4AC5-BC5C-4DC5F2CDA9BF}">
      <dsp:nvSpPr>
        <dsp:cNvPr id="0" name=""/>
        <dsp:cNvSpPr/>
      </dsp:nvSpPr>
      <dsp:spPr>
        <a:xfrm>
          <a:off x="-10631799" y="-1636055"/>
          <a:ext cx="12752663" cy="12752663"/>
        </a:xfrm>
        <a:prstGeom prst="blockArc">
          <a:avLst>
            <a:gd name="adj1" fmla="val 18900000"/>
            <a:gd name="adj2" fmla="val 2700000"/>
            <a:gd name="adj3" fmla="val 169"/>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CE960BA-25FA-494A-B364-B6F17006F0BC}">
      <dsp:nvSpPr>
        <dsp:cNvPr id="0" name=""/>
        <dsp:cNvSpPr/>
      </dsp:nvSpPr>
      <dsp:spPr>
        <a:xfrm>
          <a:off x="1742762" y="1354391"/>
          <a:ext cx="18324026" cy="2708404"/>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49796" tIns="83820" rIns="83820" bIns="83820" numCol="1" spcCol="1270" anchor="ctr" anchorCtr="0">
          <a:noAutofit/>
        </a:bodyPr>
        <a:lstStyle/>
        <a:p>
          <a:pPr lvl="0" algn="l" defTabSz="1466850">
            <a:lnSpc>
              <a:spcPct val="90000"/>
            </a:lnSpc>
            <a:spcBef>
              <a:spcPct val="0"/>
            </a:spcBef>
            <a:spcAft>
              <a:spcPct val="35000"/>
            </a:spcAft>
          </a:pPr>
          <a:r>
            <a:rPr lang="uk-UA" sz="3300" kern="1200"/>
            <a:t>збереження усіх посад та штатних одиниць, передбачених Типовими штатними нормативами дошкільних навчальних закладів, затвердженими наказом Міністерства освіти і науки України від 04.11.2010 р. № 1055, які є обов’язковими для врахування органами місцевого самоврядування та органами управління освіти і науки при затвердженні штатних розписів закладів дошкільної освіти</a:t>
          </a:r>
          <a:endParaRPr lang="ru-UA" sz="3300" kern="1200" dirty="0"/>
        </a:p>
      </dsp:txBody>
      <dsp:txXfrm>
        <a:off x="1742762" y="1354391"/>
        <a:ext cx="18324026" cy="2708404"/>
      </dsp:txXfrm>
    </dsp:sp>
    <dsp:sp modelId="{D0FF1707-03FC-4C0B-A8F2-6E4FB3851E37}">
      <dsp:nvSpPr>
        <dsp:cNvPr id="0" name=""/>
        <dsp:cNvSpPr/>
      </dsp:nvSpPr>
      <dsp:spPr>
        <a:xfrm>
          <a:off x="50009" y="1015841"/>
          <a:ext cx="3385505" cy="338550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8E5E667D-BDC6-401E-86CD-7D905524FBE3}">
      <dsp:nvSpPr>
        <dsp:cNvPr id="0" name=""/>
        <dsp:cNvSpPr/>
      </dsp:nvSpPr>
      <dsp:spPr>
        <a:xfrm>
          <a:off x="1742762" y="5417756"/>
          <a:ext cx="18324026" cy="2708404"/>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49796" tIns="83820" rIns="83820" bIns="83820" numCol="1" spcCol="1270" anchor="ctr" anchorCtr="0">
          <a:noAutofit/>
        </a:bodyPr>
        <a:lstStyle/>
        <a:p>
          <a:pPr lvl="0" algn="l" defTabSz="1466850">
            <a:lnSpc>
              <a:spcPct val="90000"/>
            </a:lnSpc>
            <a:spcBef>
              <a:spcPct val="0"/>
            </a:spcBef>
            <a:spcAft>
              <a:spcPct val="35000"/>
            </a:spcAft>
          </a:pPr>
          <a:r>
            <a:rPr lang="uk-UA" sz="3300" kern="1200" dirty="0"/>
            <a:t>Просимо зберегти посади, кількість штатних одиниць працівників та відповідну заробітну плату в ЗДО, зокрема в тих, які не функціонують у зв’язку з воєнними діями, які в окупації, а працівникам оголошено простій</a:t>
          </a:r>
          <a:endParaRPr lang="ru-UA" sz="3300" kern="1200" dirty="0"/>
        </a:p>
      </dsp:txBody>
      <dsp:txXfrm>
        <a:off x="1742762" y="5417756"/>
        <a:ext cx="18324026" cy="2708404"/>
      </dsp:txXfrm>
    </dsp:sp>
    <dsp:sp modelId="{FC2B678D-D6D1-401E-B412-D9BB61C066F6}">
      <dsp:nvSpPr>
        <dsp:cNvPr id="0" name=""/>
        <dsp:cNvSpPr/>
      </dsp:nvSpPr>
      <dsp:spPr>
        <a:xfrm>
          <a:off x="50009" y="5079206"/>
          <a:ext cx="3385505" cy="338550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F985C4-2067-4047-BA7D-3E7421B6ADF5}">
      <dsp:nvSpPr>
        <dsp:cNvPr id="0" name=""/>
        <dsp:cNvSpPr/>
      </dsp:nvSpPr>
      <dsp:spPr>
        <a:xfrm>
          <a:off x="0" y="0"/>
          <a:ext cx="2173044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949010-F43F-4273-BF25-436505F95A4B}">
      <dsp:nvSpPr>
        <dsp:cNvPr id="0" name=""/>
        <dsp:cNvSpPr/>
      </dsp:nvSpPr>
      <dsp:spPr>
        <a:xfrm>
          <a:off x="0" y="0"/>
          <a:ext cx="2517298" cy="7853082"/>
        </a:xfrm>
        <a:prstGeom prst="rect">
          <a:avLst/>
        </a:prstGeom>
        <a:solidFill>
          <a:schemeClr val="accent2">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vert270" wrap="square" lIns="186690" tIns="186690" rIns="186690" bIns="186690" numCol="1" spcCol="1270" anchor="t" anchorCtr="0">
          <a:noAutofit/>
        </a:bodyPr>
        <a:lstStyle/>
        <a:p>
          <a:pPr lvl="0" algn="ctr" defTabSz="2178050">
            <a:lnSpc>
              <a:spcPct val="90000"/>
            </a:lnSpc>
            <a:spcBef>
              <a:spcPct val="0"/>
            </a:spcBef>
            <a:spcAft>
              <a:spcPct val="35000"/>
            </a:spcAft>
          </a:pPr>
          <a:r>
            <a:rPr lang="uk-UA" sz="4900" kern="1200" dirty="0"/>
            <a:t>Справа про простій (ВНЗ) </a:t>
          </a:r>
        </a:p>
        <a:p>
          <a:pPr lvl="0" algn="ctr" defTabSz="2178050">
            <a:lnSpc>
              <a:spcPct val="90000"/>
            </a:lnSpc>
            <a:spcBef>
              <a:spcPct val="0"/>
            </a:spcBef>
            <a:spcAft>
              <a:spcPct val="35000"/>
            </a:spcAft>
          </a:pPr>
          <a:r>
            <a:rPr lang="ru-RU" sz="4900" b="0" i="0" kern="1200" dirty="0"/>
            <a:t>Справа № 335/3371/22</a:t>
          </a:r>
          <a:endParaRPr lang="ru-UA" sz="4900" kern="1200" dirty="0"/>
        </a:p>
      </dsp:txBody>
      <dsp:txXfrm>
        <a:off x="0" y="0"/>
        <a:ext cx="2517298" cy="7853082"/>
      </dsp:txXfrm>
    </dsp:sp>
    <dsp:sp modelId="{84131AAB-2705-453B-9466-179E67A33C0A}">
      <dsp:nvSpPr>
        <dsp:cNvPr id="0" name=""/>
        <dsp:cNvSpPr/>
      </dsp:nvSpPr>
      <dsp:spPr>
        <a:xfrm>
          <a:off x="2843255" y="122704"/>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kern="1200" dirty="0"/>
            <a:t>Запроваджено дистанційну роботу</a:t>
          </a:r>
          <a:endParaRPr lang="ru-UA" sz="3300" kern="1200" dirty="0"/>
        </a:p>
      </dsp:txBody>
      <dsp:txXfrm>
        <a:off x="2843255" y="122704"/>
        <a:ext cx="17058400" cy="2454088"/>
      </dsp:txXfrm>
    </dsp:sp>
    <dsp:sp modelId="{81DB2667-891F-46F6-87CB-9D0638423E56}">
      <dsp:nvSpPr>
        <dsp:cNvPr id="0" name=""/>
        <dsp:cNvSpPr/>
      </dsp:nvSpPr>
      <dsp:spPr>
        <a:xfrm>
          <a:off x="2517298" y="2576792"/>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07DF82-DC38-4B52-A931-DAA4389F017B}">
      <dsp:nvSpPr>
        <dsp:cNvPr id="0" name=""/>
        <dsp:cNvSpPr/>
      </dsp:nvSpPr>
      <dsp:spPr>
        <a:xfrm>
          <a:off x="2843255" y="2699496"/>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kern="1200" dirty="0"/>
            <a:t>Оголошено простій. Акт простою не складено. З рішенням працівника не ознайомлено. Оплата 2/3 від окладу. Працівник продовжував працювати.</a:t>
          </a:r>
          <a:endParaRPr lang="ru-UA" sz="3300" kern="1200" dirty="0"/>
        </a:p>
      </dsp:txBody>
      <dsp:txXfrm>
        <a:off x="2843255" y="2699496"/>
        <a:ext cx="17058400" cy="2454088"/>
      </dsp:txXfrm>
    </dsp:sp>
    <dsp:sp modelId="{6B27170D-1061-408B-8B34-5CBCA78B88AB}">
      <dsp:nvSpPr>
        <dsp:cNvPr id="0" name=""/>
        <dsp:cNvSpPr/>
      </dsp:nvSpPr>
      <dsp:spPr>
        <a:xfrm>
          <a:off x="2517298" y="5153585"/>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F3146E-A2AB-42BA-A1FD-33AF22DFB1C4}">
      <dsp:nvSpPr>
        <dsp:cNvPr id="0" name=""/>
        <dsp:cNvSpPr/>
      </dsp:nvSpPr>
      <dsp:spPr>
        <a:xfrm>
          <a:off x="2843255" y="5276289"/>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b="0" i="0" kern="1200" noProof="0" dirty="0"/>
            <a:t>У спірних наказах посилання на положення ст. 34 КЗпП України як на підставу встановлення простою відсутні. Накази містять посилання на ст. 113 КЗпП України та прийняті у зв`язку з військовою агресією Російської Федерації проти України та запровадженням воєнного стану згідно з Указом «Про введення воєнного стану в Україні»</a:t>
          </a:r>
          <a:endParaRPr lang="uk-UA" sz="3300" kern="1200" noProof="0" dirty="0"/>
        </a:p>
      </dsp:txBody>
      <dsp:txXfrm>
        <a:off x="2843255" y="5276289"/>
        <a:ext cx="17058400" cy="2454088"/>
      </dsp:txXfrm>
    </dsp:sp>
    <dsp:sp modelId="{98DF41B8-5D6A-4631-BC1D-C5063401B9D3}">
      <dsp:nvSpPr>
        <dsp:cNvPr id="0" name=""/>
        <dsp:cNvSpPr/>
      </dsp:nvSpPr>
      <dsp:spPr>
        <a:xfrm>
          <a:off x="2517298" y="7730377"/>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19D49F-DCC7-4EF5-8F1E-54348675A768}">
      <dsp:nvSpPr>
        <dsp:cNvPr id="0" name=""/>
        <dsp:cNvSpPr/>
      </dsp:nvSpPr>
      <dsp:spPr>
        <a:xfrm>
          <a:off x="0" y="126259"/>
          <a:ext cx="22268328" cy="321698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lvl="0" algn="l" defTabSz="1644650">
            <a:lnSpc>
              <a:spcPct val="90000"/>
            </a:lnSpc>
            <a:spcBef>
              <a:spcPct val="0"/>
            </a:spcBef>
            <a:spcAft>
              <a:spcPct val="35000"/>
            </a:spcAft>
          </a:pPr>
          <a:r>
            <a:rPr lang="uk-UA" sz="3700" b="0" i="0" kern="1200" noProof="0" dirty="0">
              <a:solidFill>
                <a:schemeClr val="tx1"/>
              </a:solidFill>
            </a:rPr>
            <a:t>Особливий вид трудового договору, умовами якого не встановлено конкретний час виконання роботи, обов’язок працівника виконувати яку виникає виключно у разі надання роботодавцем передбаченої цим трудовим договором роботи без гарантування того, що така робота буде надаватися постійно, але з дотриманням умов оплати праці, передбачених цією статтею.</a:t>
          </a:r>
          <a:endParaRPr lang="uk-UA" sz="3700" kern="1200" noProof="0" dirty="0">
            <a:solidFill>
              <a:schemeClr val="tx1"/>
            </a:solidFill>
          </a:endParaRPr>
        </a:p>
      </dsp:txBody>
      <dsp:txXfrm>
        <a:off x="157040" y="283299"/>
        <a:ext cx="21954248" cy="2902908"/>
      </dsp:txXfrm>
    </dsp:sp>
    <dsp:sp modelId="{F7E4E9D8-602E-4533-BE86-F95BA1BEB46F}">
      <dsp:nvSpPr>
        <dsp:cNvPr id="0" name=""/>
        <dsp:cNvSpPr/>
      </dsp:nvSpPr>
      <dsp:spPr>
        <a:xfrm>
          <a:off x="0" y="3343248"/>
          <a:ext cx="22268328" cy="19913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7019" tIns="45720" rIns="256032" bIns="45720" numCol="1" spcCol="1270" anchor="t" anchorCtr="0">
          <a:noAutofit/>
        </a:bodyPr>
        <a:lstStyle/>
        <a:p>
          <a:pPr marL="285750" lvl="1" indent="-285750" algn="l" defTabSz="1600200">
            <a:lnSpc>
              <a:spcPct val="90000"/>
            </a:lnSpc>
            <a:spcBef>
              <a:spcPct val="0"/>
            </a:spcBef>
            <a:spcAft>
              <a:spcPct val="20000"/>
            </a:spcAft>
            <a:buChar char="••"/>
          </a:pPr>
          <a:r>
            <a:rPr lang="uk-UA" sz="3600" b="0" i="0" kern="1200" noProof="0" dirty="0"/>
            <a:t>Роботодавець самостійно визначає необхідність та час залучення працівника до роботи, обсяг роботи та в передбачений трудовим договором строк погоджує з працівником режим роботи та тривалість робочого часу, необхідного для виконання відповідної роботи. При цьому повинні дотримуватися вимоги законодавства щодо тривалості робочого часу та часу відпочинку.</a:t>
          </a:r>
          <a:endParaRPr lang="uk-UA" sz="3600" kern="1200" noProof="0" dirty="0"/>
        </a:p>
      </dsp:txBody>
      <dsp:txXfrm>
        <a:off x="0" y="3343248"/>
        <a:ext cx="22268328" cy="1991340"/>
      </dsp:txXfrm>
    </dsp:sp>
    <dsp:sp modelId="{1526A55A-9608-4E26-AFDD-5310076E9C60}">
      <dsp:nvSpPr>
        <dsp:cNvPr id="0" name=""/>
        <dsp:cNvSpPr/>
      </dsp:nvSpPr>
      <dsp:spPr>
        <a:xfrm>
          <a:off x="0" y="5334588"/>
          <a:ext cx="22268328" cy="321698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lvl="0" algn="l" defTabSz="1644650">
            <a:lnSpc>
              <a:spcPct val="90000"/>
            </a:lnSpc>
            <a:spcBef>
              <a:spcPct val="0"/>
            </a:spcBef>
            <a:spcAft>
              <a:spcPct val="35000"/>
            </a:spcAft>
          </a:pPr>
          <a:r>
            <a:rPr lang="uk-UA" sz="3700" b="0" i="0" kern="1200" noProof="0" dirty="0">
              <a:solidFill>
                <a:schemeClr val="tx1"/>
              </a:solidFill>
            </a:rPr>
            <a:t>Кількість трудових договорів з нефіксованим робочим часом у одного роботодавця не може перевищувати 10 відсотків загальної кількості трудових договорів, стороною яких є цей роботодавець.</a:t>
          </a:r>
        </a:p>
        <a:p>
          <a:pPr lvl="0" algn="l" defTabSz="1644650">
            <a:lnSpc>
              <a:spcPct val="90000"/>
            </a:lnSpc>
            <a:spcBef>
              <a:spcPct val="0"/>
            </a:spcBef>
            <a:spcAft>
              <a:spcPct val="35000"/>
            </a:spcAft>
          </a:pPr>
          <a:r>
            <a:rPr lang="uk-UA" sz="3700" b="0" i="0" kern="1200" noProof="0" dirty="0">
              <a:solidFill>
                <a:schemeClr val="tx1"/>
              </a:solidFill>
            </a:rPr>
            <a:t>Роботодавець (роботодавець - фізична особа), який використовує працю менше ніж 10 працівників, може укладати не більше одного трудового договору з нефіксованим робочим часом.</a:t>
          </a:r>
          <a:endParaRPr lang="uk-UA" sz="3700" kern="1200" noProof="0" dirty="0">
            <a:solidFill>
              <a:schemeClr val="tx1"/>
            </a:solidFill>
          </a:endParaRPr>
        </a:p>
      </dsp:txBody>
      <dsp:txXfrm>
        <a:off x="157040" y="5491628"/>
        <a:ext cx="21954248" cy="2902908"/>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2CA74-C898-4810-8215-DDD291D3907C}">
      <dsp:nvSpPr>
        <dsp:cNvPr id="0" name=""/>
        <dsp:cNvSpPr/>
      </dsp:nvSpPr>
      <dsp:spPr>
        <a:xfrm>
          <a:off x="0" y="313610"/>
          <a:ext cx="21929822" cy="28665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l" defTabSz="1555750">
            <a:lnSpc>
              <a:spcPct val="90000"/>
            </a:lnSpc>
            <a:spcBef>
              <a:spcPct val="0"/>
            </a:spcBef>
            <a:spcAft>
              <a:spcPct val="35000"/>
            </a:spcAft>
          </a:pPr>
          <a:r>
            <a:rPr lang="uk-UA" sz="3500" b="0" i="0" kern="1200" noProof="0" dirty="0"/>
            <a:t>Простій - це зупинення роботи, викликане відсутністю організаційних або технічних умов, необхідних для виконання роботи, невідворотною силою або іншими обставинами. У разі простою працівники можуть бути переведені за їх згодою з урахуванням спеціальності і кваліфікації на іншу роботу на тому ж підприємстві, в установі, організації на весь час простою або на інше підприємство, в установу, організацію, але в тій самій місцевості на строк до одного місяця (ст. 34 КЗпП)</a:t>
          </a:r>
          <a:endParaRPr lang="uk-UA" sz="3500" kern="1200" noProof="0" dirty="0"/>
        </a:p>
      </dsp:txBody>
      <dsp:txXfrm>
        <a:off x="139931" y="453541"/>
        <a:ext cx="21649960" cy="2586638"/>
      </dsp:txXfrm>
    </dsp:sp>
    <dsp:sp modelId="{F2663DDB-AF79-4774-94A4-303448794070}">
      <dsp:nvSpPr>
        <dsp:cNvPr id="0" name=""/>
        <dsp:cNvSpPr/>
      </dsp:nvSpPr>
      <dsp:spPr>
        <a:xfrm>
          <a:off x="0" y="3180110"/>
          <a:ext cx="21929822" cy="228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6272" tIns="40640" rIns="227584" bIns="40640" numCol="1" spcCol="1270" anchor="t" anchorCtr="0">
          <a:noAutofit/>
        </a:bodyPr>
        <a:lstStyle/>
        <a:p>
          <a:pPr marL="285750" lvl="1" indent="-285750" algn="l" defTabSz="1422400">
            <a:lnSpc>
              <a:spcPct val="90000"/>
            </a:lnSpc>
            <a:spcBef>
              <a:spcPct val="0"/>
            </a:spcBef>
            <a:spcAft>
              <a:spcPct val="20000"/>
            </a:spcAft>
            <a:buChar char="••"/>
          </a:pPr>
          <a:r>
            <a:rPr lang="uk-UA" sz="3200" b="0" i="0" kern="1200" noProof="0" dirty="0"/>
            <a:t>Час простою не з вини працівника оплачується з розрахунку не нижче від двох третин тарифної ставки встановленого працівникові розряду (окладу).</a:t>
          </a:r>
          <a:endParaRPr lang="uk-UA" sz="3200" kern="1200" noProof="0" dirty="0"/>
        </a:p>
        <a:p>
          <a:pPr marL="285750" lvl="1" indent="-285750" algn="l" defTabSz="1422400">
            <a:lnSpc>
              <a:spcPct val="90000"/>
            </a:lnSpc>
            <a:spcBef>
              <a:spcPct val="0"/>
            </a:spcBef>
            <a:spcAft>
              <a:spcPct val="20000"/>
            </a:spcAft>
            <a:buChar char="••"/>
          </a:pPr>
          <a:r>
            <a:rPr lang="uk-UA" sz="3200" b="0" i="0" kern="1200" noProof="0" dirty="0"/>
            <a:t>За час простою, коли виникла виробнича ситуація, небезпечна для життя чи здоров’я працівника або для людей, які його оточують, і навколишнього природного середовища не з його вини, </a:t>
          </a:r>
          <a:r>
            <a:rPr lang="uk-UA" sz="3200" b="1" i="0" kern="1200" noProof="0" dirty="0"/>
            <a:t>за ним зберігається середній заробіток </a:t>
          </a:r>
          <a:r>
            <a:rPr lang="uk-UA" sz="3200" b="0" i="0" kern="1200" noProof="0" dirty="0"/>
            <a:t>(ст. 113 КЗпП).</a:t>
          </a:r>
        </a:p>
      </dsp:txBody>
      <dsp:txXfrm>
        <a:off x="0" y="3180110"/>
        <a:ext cx="21929822" cy="2282175"/>
      </dsp:txXfrm>
    </dsp:sp>
    <dsp:sp modelId="{D69BF492-A030-4636-B7E7-C0086D7751C0}">
      <dsp:nvSpPr>
        <dsp:cNvPr id="0" name=""/>
        <dsp:cNvSpPr/>
      </dsp:nvSpPr>
      <dsp:spPr>
        <a:xfrm>
          <a:off x="0" y="5462285"/>
          <a:ext cx="21929822" cy="28665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l" defTabSz="1555750">
            <a:lnSpc>
              <a:spcPct val="90000"/>
            </a:lnSpc>
            <a:spcBef>
              <a:spcPct val="0"/>
            </a:spcBef>
            <a:spcAft>
              <a:spcPct val="35000"/>
            </a:spcAft>
          </a:pPr>
          <a:r>
            <a:rPr lang="uk-UA" sz="3500" b="0" i="0" kern="1200" noProof="0" dirty="0"/>
            <a:t>Відповідачем не зазначено обставин, які б свідчили про відсутність організаційних або технічних умов, необхідних для виконання роботи позивачем, а також не наведено посилання на докази таких обставин, зокрема на такі, які б свідчили про об`єктивну неможливість здійснення роботи позивачем саме через введення воєнного стану</a:t>
          </a:r>
          <a:endParaRPr lang="uk-UA" sz="3500" kern="1200" noProof="0" dirty="0"/>
        </a:p>
      </dsp:txBody>
      <dsp:txXfrm>
        <a:off x="139931" y="5602216"/>
        <a:ext cx="21649960" cy="2586638"/>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62C84-9419-4108-8F83-43E4E180EB19}">
      <dsp:nvSpPr>
        <dsp:cNvPr id="0" name=""/>
        <dsp:cNvSpPr/>
      </dsp:nvSpPr>
      <dsp:spPr>
        <a:xfrm rot="5400000">
          <a:off x="2369405" y="2070155"/>
          <a:ext cx="3572137" cy="594395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E99759-AF57-4683-B740-A753C1B8EA17}">
      <dsp:nvSpPr>
        <dsp:cNvPr id="0" name=""/>
        <dsp:cNvSpPr/>
      </dsp:nvSpPr>
      <dsp:spPr>
        <a:xfrm>
          <a:off x="1773126" y="3846117"/>
          <a:ext cx="5366237" cy="47038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kern="1200" noProof="0" dirty="0"/>
            <a:t>Позов задовільнити</a:t>
          </a:r>
        </a:p>
      </dsp:txBody>
      <dsp:txXfrm>
        <a:off x="1773126" y="3846117"/>
        <a:ext cx="5366237" cy="4703821"/>
      </dsp:txXfrm>
    </dsp:sp>
    <dsp:sp modelId="{E9CE0A68-4216-411A-8682-F52AB3C1EAE8}">
      <dsp:nvSpPr>
        <dsp:cNvPr id="0" name=""/>
        <dsp:cNvSpPr/>
      </dsp:nvSpPr>
      <dsp:spPr>
        <a:xfrm>
          <a:off x="6126866" y="1632554"/>
          <a:ext cx="1012497" cy="101249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67BAE08-DB3B-416B-87C1-759C1343CD35}">
      <dsp:nvSpPr>
        <dsp:cNvPr id="0" name=""/>
        <dsp:cNvSpPr/>
      </dsp:nvSpPr>
      <dsp:spPr>
        <a:xfrm rot="5400000">
          <a:off x="8938727" y="444569"/>
          <a:ext cx="3572137" cy="594395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FDA3A7-D86E-40E7-8FEE-62AA3C776CC0}">
      <dsp:nvSpPr>
        <dsp:cNvPr id="0" name=""/>
        <dsp:cNvSpPr/>
      </dsp:nvSpPr>
      <dsp:spPr>
        <a:xfrm>
          <a:off x="8342449" y="2220532"/>
          <a:ext cx="5366237" cy="47038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kern="1200" noProof="0" dirty="0"/>
            <a:t>Накази визнати незаконними та скасувати</a:t>
          </a:r>
        </a:p>
      </dsp:txBody>
      <dsp:txXfrm>
        <a:off x="8342449" y="2220532"/>
        <a:ext cx="5366237" cy="4703821"/>
      </dsp:txXfrm>
    </dsp:sp>
    <dsp:sp modelId="{2989465F-E1D8-4038-8309-7CFFB4DEE4B0}">
      <dsp:nvSpPr>
        <dsp:cNvPr id="0" name=""/>
        <dsp:cNvSpPr/>
      </dsp:nvSpPr>
      <dsp:spPr>
        <a:xfrm>
          <a:off x="12696188" y="6969"/>
          <a:ext cx="1012497" cy="101249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42972E-E5EC-4955-AE36-4D7FEC72FF04}">
      <dsp:nvSpPr>
        <dsp:cNvPr id="0" name=""/>
        <dsp:cNvSpPr/>
      </dsp:nvSpPr>
      <dsp:spPr>
        <a:xfrm rot="5400000">
          <a:off x="15508050" y="-1181015"/>
          <a:ext cx="3572137" cy="594395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73F882-23B3-4E1E-A884-51636CA914EA}">
      <dsp:nvSpPr>
        <dsp:cNvPr id="0" name=""/>
        <dsp:cNvSpPr/>
      </dsp:nvSpPr>
      <dsp:spPr>
        <a:xfrm>
          <a:off x="14911771" y="594946"/>
          <a:ext cx="5366237" cy="47038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b="0" i="0" kern="1200" noProof="0" dirty="0"/>
            <a:t>Стягнути різницю у заробітній платі за час простою в сумі 16 956 без врахування відповідних податків та інших обов`язкових платежів, а також судові витрати зі сплати судового збору розміром 1 984, 8 грн.</a:t>
          </a:r>
          <a:endParaRPr lang="uk-UA" sz="3300" kern="1200" noProof="0" dirty="0"/>
        </a:p>
      </dsp:txBody>
      <dsp:txXfrm>
        <a:off x="14911771" y="594946"/>
        <a:ext cx="5366237" cy="4703821"/>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F985C4-2067-4047-BA7D-3E7421B6ADF5}">
      <dsp:nvSpPr>
        <dsp:cNvPr id="0" name=""/>
        <dsp:cNvSpPr/>
      </dsp:nvSpPr>
      <dsp:spPr>
        <a:xfrm>
          <a:off x="0" y="0"/>
          <a:ext cx="2173044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949010-F43F-4273-BF25-436505F95A4B}">
      <dsp:nvSpPr>
        <dsp:cNvPr id="0" name=""/>
        <dsp:cNvSpPr/>
      </dsp:nvSpPr>
      <dsp:spPr>
        <a:xfrm>
          <a:off x="0" y="0"/>
          <a:ext cx="2517298" cy="7853082"/>
        </a:xfrm>
        <a:prstGeom prst="rect">
          <a:avLst/>
        </a:prstGeom>
        <a:solidFill>
          <a:schemeClr val="accent2">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vert270" wrap="square" lIns="167640" tIns="167640" rIns="167640" bIns="167640" numCol="1" spcCol="1270" anchor="t" anchorCtr="0">
          <a:noAutofit/>
        </a:bodyPr>
        <a:lstStyle/>
        <a:p>
          <a:pPr lvl="0" algn="ctr" defTabSz="1955800">
            <a:lnSpc>
              <a:spcPct val="90000"/>
            </a:lnSpc>
            <a:spcBef>
              <a:spcPct val="0"/>
            </a:spcBef>
            <a:spcAft>
              <a:spcPct val="35000"/>
            </a:spcAft>
          </a:pPr>
          <a:r>
            <a:rPr lang="uk-UA" sz="4400" kern="1200" dirty="0"/>
            <a:t>Справа про відпустку без ЗП (центр фізичного здоров’я) </a:t>
          </a:r>
        </a:p>
        <a:p>
          <a:pPr lvl="0" algn="ctr" defTabSz="1955800">
            <a:lnSpc>
              <a:spcPct val="90000"/>
            </a:lnSpc>
            <a:spcBef>
              <a:spcPct val="0"/>
            </a:spcBef>
            <a:spcAft>
              <a:spcPct val="35000"/>
            </a:spcAft>
          </a:pPr>
          <a:r>
            <a:rPr lang="ru-RU" sz="4400" b="0" i="0" kern="1200" dirty="0"/>
            <a:t>Справа № </a:t>
          </a:r>
          <a:r>
            <a:rPr lang="ru-UA" sz="4400" b="0" i="0" kern="1200" dirty="0"/>
            <a:t>473/929/22</a:t>
          </a:r>
          <a:endParaRPr lang="ru-UA" sz="4400" kern="1200" dirty="0"/>
        </a:p>
      </dsp:txBody>
      <dsp:txXfrm>
        <a:off x="0" y="0"/>
        <a:ext cx="2517298" cy="7853082"/>
      </dsp:txXfrm>
    </dsp:sp>
    <dsp:sp modelId="{84131AAB-2705-453B-9466-179E67A33C0A}">
      <dsp:nvSpPr>
        <dsp:cNvPr id="0" name=""/>
        <dsp:cNvSpPr/>
      </dsp:nvSpPr>
      <dsp:spPr>
        <a:xfrm>
          <a:off x="2843255" y="122704"/>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070" tIns="179070" rIns="179070" bIns="179070" numCol="1" spcCol="1270" anchor="t" anchorCtr="0">
          <a:noAutofit/>
        </a:bodyPr>
        <a:lstStyle/>
        <a:p>
          <a:pPr lvl="0" algn="l" defTabSz="2089150">
            <a:lnSpc>
              <a:spcPct val="90000"/>
            </a:lnSpc>
            <a:spcBef>
              <a:spcPct val="0"/>
            </a:spcBef>
            <a:spcAft>
              <a:spcPct val="35000"/>
            </a:spcAft>
          </a:pPr>
          <a:r>
            <a:rPr lang="uk-UA" sz="4700" kern="1200" dirty="0"/>
            <a:t>Комплекс зачинено через активні бойові дії. Доступу до закладу немає у працівників навіть з метою забрати особисті речі. </a:t>
          </a:r>
          <a:endParaRPr lang="ru-UA" sz="4700" kern="1200" dirty="0"/>
        </a:p>
      </dsp:txBody>
      <dsp:txXfrm>
        <a:off x="2843255" y="122704"/>
        <a:ext cx="17058400" cy="2454088"/>
      </dsp:txXfrm>
    </dsp:sp>
    <dsp:sp modelId="{81DB2667-891F-46F6-87CB-9D0638423E56}">
      <dsp:nvSpPr>
        <dsp:cNvPr id="0" name=""/>
        <dsp:cNvSpPr/>
      </dsp:nvSpPr>
      <dsp:spPr>
        <a:xfrm>
          <a:off x="2517298" y="2576792"/>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07DF82-DC38-4B52-A931-DAA4389F017B}">
      <dsp:nvSpPr>
        <dsp:cNvPr id="0" name=""/>
        <dsp:cNvSpPr/>
      </dsp:nvSpPr>
      <dsp:spPr>
        <a:xfrm>
          <a:off x="2843255" y="2699496"/>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070" tIns="179070" rIns="179070" bIns="179070" numCol="1" spcCol="1270" anchor="t" anchorCtr="0">
          <a:noAutofit/>
        </a:bodyPr>
        <a:lstStyle/>
        <a:p>
          <a:pPr lvl="0" algn="l" defTabSz="2089150">
            <a:lnSpc>
              <a:spcPct val="90000"/>
            </a:lnSpc>
            <a:spcBef>
              <a:spcPct val="0"/>
            </a:spcBef>
            <a:spcAft>
              <a:spcPct val="35000"/>
            </a:spcAft>
          </a:pPr>
          <a:r>
            <a:rPr lang="uk-UA" sz="4700" kern="1200" dirty="0"/>
            <a:t>Рішення про зміну режиму роботи закладу не приймалось.</a:t>
          </a:r>
        </a:p>
        <a:p>
          <a:pPr lvl="0" algn="l" defTabSz="2089150">
            <a:lnSpc>
              <a:spcPct val="90000"/>
            </a:lnSpc>
            <a:spcBef>
              <a:spcPct val="0"/>
            </a:spcBef>
            <a:spcAft>
              <a:spcPct val="35000"/>
            </a:spcAft>
          </a:pPr>
          <a:r>
            <a:rPr lang="uk-UA" sz="4700" kern="1200" dirty="0"/>
            <a:t>Керівництво видало наказ про відпустки працівників без збереження ЗП до завершення воєнного стану.</a:t>
          </a:r>
          <a:endParaRPr lang="ru-UA" sz="4700" kern="1200" dirty="0"/>
        </a:p>
      </dsp:txBody>
      <dsp:txXfrm>
        <a:off x="2843255" y="2699496"/>
        <a:ext cx="17058400" cy="2454088"/>
      </dsp:txXfrm>
    </dsp:sp>
    <dsp:sp modelId="{6B27170D-1061-408B-8B34-5CBCA78B88AB}">
      <dsp:nvSpPr>
        <dsp:cNvPr id="0" name=""/>
        <dsp:cNvSpPr/>
      </dsp:nvSpPr>
      <dsp:spPr>
        <a:xfrm>
          <a:off x="2517298" y="5153585"/>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F3146E-A2AB-42BA-A1FD-33AF22DFB1C4}">
      <dsp:nvSpPr>
        <dsp:cNvPr id="0" name=""/>
        <dsp:cNvSpPr/>
      </dsp:nvSpPr>
      <dsp:spPr>
        <a:xfrm>
          <a:off x="2843255" y="5276289"/>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070" tIns="179070" rIns="179070" bIns="179070" numCol="1" spcCol="1270" anchor="t" anchorCtr="0">
          <a:noAutofit/>
        </a:bodyPr>
        <a:lstStyle/>
        <a:p>
          <a:pPr lvl="0" algn="l" defTabSz="2089150">
            <a:lnSpc>
              <a:spcPct val="90000"/>
            </a:lnSpc>
            <a:spcBef>
              <a:spcPct val="0"/>
            </a:spcBef>
            <a:spcAft>
              <a:spcPct val="35000"/>
            </a:spcAft>
          </a:pPr>
          <a:r>
            <a:rPr lang="uk-UA" sz="4700" b="0" i="0" kern="1200" noProof="0" dirty="0"/>
            <a:t>Заяву про відпустки працівники не писали. Намагались потрапити на роботу. Мають бажання працювати.</a:t>
          </a:r>
          <a:endParaRPr lang="uk-UA" sz="4700" kern="1200" noProof="0" dirty="0"/>
        </a:p>
      </dsp:txBody>
      <dsp:txXfrm>
        <a:off x="2843255" y="5276289"/>
        <a:ext cx="17058400" cy="2454088"/>
      </dsp:txXfrm>
    </dsp:sp>
    <dsp:sp modelId="{98DF41B8-5D6A-4631-BC1D-C5063401B9D3}">
      <dsp:nvSpPr>
        <dsp:cNvPr id="0" name=""/>
        <dsp:cNvSpPr/>
      </dsp:nvSpPr>
      <dsp:spPr>
        <a:xfrm>
          <a:off x="2517298" y="7730377"/>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2CA74-C898-4810-8215-DDD291D3907C}">
      <dsp:nvSpPr>
        <dsp:cNvPr id="0" name=""/>
        <dsp:cNvSpPr/>
      </dsp:nvSpPr>
      <dsp:spPr>
        <a:xfrm>
          <a:off x="0" y="415001"/>
          <a:ext cx="21929822" cy="185810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l" defTabSz="1555750">
            <a:lnSpc>
              <a:spcPct val="90000"/>
            </a:lnSpc>
            <a:spcBef>
              <a:spcPct val="0"/>
            </a:spcBef>
            <a:spcAft>
              <a:spcPct val="35000"/>
            </a:spcAft>
          </a:pPr>
          <a:r>
            <a:rPr lang="uk-UA" sz="3500" b="0" i="0" kern="1200" noProof="0" dirty="0"/>
            <a:t>У випадках, передбачених статтею 25 ЗУ "Про відпустки", працівнику за його бажанням надається в обов`язковому порядку відпустка без збереження заробітної плати (ст. 84 КЗпП).</a:t>
          </a:r>
          <a:endParaRPr lang="uk-UA" sz="3500" kern="1200" noProof="0" dirty="0"/>
        </a:p>
      </dsp:txBody>
      <dsp:txXfrm>
        <a:off x="90705" y="505706"/>
        <a:ext cx="21748412" cy="1676696"/>
      </dsp:txXfrm>
    </dsp:sp>
    <dsp:sp modelId="{F2663DDB-AF79-4774-94A4-303448794070}">
      <dsp:nvSpPr>
        <dsp:cNvPr id="0" name=""/>
        <dsp:cNvSpPr/>
      </dsp:nvSpPr>
      <dsp:spPr>
        <a:xfrm>
          <a:off x="0" y="2273107"/>
          <a:ext cx="21929822" cy="2137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6272" tIns="40640" rIns="227584" bIns="40640" numCol="1" spcCol="1270" anchor="t" anchorCtr="0">
          <a:noAutofit/>
        </a:bodyPr>
        <a:lstStyle/>
        <a:p>
          <a:pPr marL="285750" lvl="1" indent="-285750" algn="l" defTabSz="1422400">
            <a:lnSpc>
              <a:spcPct val="90000"/>
            </a:lnSpc>
            <a:spcBef>
              <a:spcPct val="0"/>
            </a:spcBef>
            <a:spcAft>
              <a:spcPct val="20000"/>
            </a:spcAft>
            <a:buChar char="••"/>
          </a:pPr>
          <a:r>
            <a:rPr lang="uk-UA" sz="3200" b="0" i="0" kern="1200" noProof="0" dirty="0"/>
            <a:t>Існують 2 види відпусток без збереження заробітної плати, а саме:</a:t>
          </a:r>
          <a:endParaRPr lang="uk-UA" sz="3200" kern="1200" noProof="0" dirty="0"/>
        </a:p>
        <a:p>
          <a:pPr marL="285750" lvl="1" indent="-285750" algn="l" defTabSz="1600200">
            <a:lnSpc>
              <a:spcPct val="90000"/>
            </a:lnSpc>
            <a:spcBef>
              <a:spcPct val="0"/>
            </a:spcBef>
            <a:spcAft>
              <a:spcPct val="20000"/>
            </a:spcAft>
            <a:buChar char="••"/>
          </a:pPr>
          <a:r>
            <a:rPr lang="uk-UA" sz="3600" b="0" i="0" kern="1200" noProof="0" dirty="0"/>
            <a:t>-відпустка, що надається працівникам в силу суб`єктивного права, що належить їм за законом, тобто в обов`язковому порядку (ст. 25 ЗУ «Про відпустки»),</a:t>
          </a:r>
        </a:p>
        <a:p>
          <a:pPr marL="285750" lvl="1" indent="-285750" algn="l" defTabSz="1600200">
            <a:lnSpc>
              <a:spcPct val="90000"/>
            </a:lnSpc>
            <a:spcBef>
              <a:spcPct val="0"/>
            </a:spcBef>
            <a:spcAft>
              <a:spcPct val="20000"/>
            </a:spcAft>
            <a:buChar char="••"/>
          </a:pPr>
          <a:r>
            <a:rPr lang="uk-UA" sz="3600" b="0" i="0" kern="1200" noProof="0" dirty="0"/>
            <a:t>-відпустка, що надається за погодженням сторін (ст. 26 ЗУ «Про відпустки»)</a:t>
          </a:r>
        </a:p>
      </dsp:txBody>
      <dsp:txXfrm>
        <a:off x="0" y="2273107"/>
        <a:ext cx="21929822" cy="2137275"/>
      </dsp:txXfrm>
    </dsp:sp>
    <dsp:sp modelId="{D69BF492-A030-4636-B7E7-C0086D7751C0}">
      <dsp:nvSpPr>
        <dsp:cNvPr id="0" name=""/>
        <dsp:cNvSpPr/>
      </dsp:nvSpPr>
      <dsp:spPr>
        <a:xfrm>
          <a:off x="0" y="4410382"/>
          <a:ext cx="21929822" cy="185810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l" defTabSz="1555750">
            <a:lnSpc>
              <a:spcPct val="90000"/>
            </a:lnSpc>
            <a:spcBef>
              <a:spcPct val="0"/>
            </a:spcBef>
            <a:spcAft>
              <a:spcPct val="35000"/>
            </a:spcAft>
          </a:pPr>
          <a:r>
            <a:rPr lang="uk-UA" sz="3500" b="0" i="0" kern="1200" noProof="0" dirty="0"/>
            <a:t>Протягом періоду дії воєнного стану роботодавець на прохання працівника може надавати йому відпустку без збереження заробітної плати без обмеження строку, встановленого ч. 1 ст. 26 Закону України "Про відпустки» (ч. 3 ст. 12 ЗУ «Про організацію трудових відносин в умовах воєнного стану»)</a:t>
          </a:r>
          <a:endParaRPr lang="uk-UA" sz="3500" kern="1200" noProof="0" dirty="0"/>
        </a:p>
      </dsp:txBody>
      <dsp:txXfrm>
        <a:off x="90705" y="4501087"/>
        <a:ext cx="21748412" cy="1676696"/>
      </dsp:txXfrm>
    </dsp:sp>
    <dsp:sp modelId="{D74A8601-94D7-42D6-AE70-4AA39D7D1335}">
      <dsp:nvSpPr>
        <dsp:cNvPr id="0" name=""/>
        <dsp:cNvSpPr/>
      </dsp:nvSpPr>
      <dsp:spPr>
        <a:xfrm>
          <a:off x="0" y="6369288"/>
          <a:ext cx="21929822" cy="185810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l" defTabSz="1555750">
            <a:lnSpc>
              <a:spcPct val="90000"/>
            </a:lnSpc>
            <a:spcBef>
              <a:spcPct val="0"/>
            </a:spcBef>
            <a:spcAft>
              <a:spcPct val="35000"/>
            </a:spcAft>
          </a:pPr>
          <a:r>
            <a:rPr lang="uk-UA" sz="3500" b="0" i="0" kern="1200" noProof="0" dirty="0"/>
            <a:t>Надання працівникам відпусток без збереження заробітної плати здійснюється в інтересах саме працівників та за їх бажанням, а не з ініціативи роботодавця</a:t>
          </a:r>
          <a:endParaRPr lang="uk-UA" sz="3500" kern="1200" noProof="0" dirty="0"/>
        </a:p>
      </dsp:txBody>
      <dsp:txXfrm>
        <a:off x="90705" y="6459993"/>
        <a:ext cx="21748412" cy="1676696"/>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62C84-9419-4108-8F83-43E4E180EB19}">
      <dsp:nvSpPr>
        <dsp:cNvPr id="0" name=""/>
        <dsp:cNvSpPr/>
      </dsp:nvSpPr>
      <dsp:spPr>
        <a:xfrm rot="5400000">
          <a:off x="2369405" y="2070155"/>
          <a:ext cx="3572137" cy="594395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E99759-AF57-4683-B740-A753C1B8EA17}">
      <dsp:nvSpPr>
        <dsp:cNvPr id="0" name=""/>
        <dsp:cNvSpPr/>
      </dsp:nvSpPr>
      <dsp:spPr>
        <a:xfrm>
          <a:off x="1773126" y="3846117"/>
          <a:ext cx="5366237" cy="47038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6220" tIns="236220" rIns="236220" bIns="236220" numCol="1" spcCol="1270" anchor="t" anchorCtr="0">
          <a:noAutofit/>
        </a:bodyPr>
        <a:lstStyle/>
        <a:p>
          <a:pPr lvl="0" algn="l" defTabSz="2755900">
            <a:lnSpc>
              <a:spcPct val="90000"/>
            </a:lnSpc>
            <a:spcBef>
              <a:spcPct val="0"/>
            </a:spcBef>
            <a:spcAft>
              <a:spcPct val="35000"/>
            </a:spcAft>
          </a:pPr>
          <a:r>
            <a:rPr lang="uk-UA" sz="6200" kern="1200" noProof="0" dirty="0"/>
            <a:t>Позов задовільнити</a:t>
          </a:r>
        </a:p>
      </dsp:txBody>
      <dsp:txXfrm>
        <a:off x="1773126" y="3846117"/>
        <a:ext cx="5366237" cy="4703821"/>
      </dsp:txXfrm>
    </dsp:sp>
    <dsp:sp modelId="{E9CE0A68-4216-411A-8682-F52AB3C1EAE8}">
      <dsp:nvSpPr>
        <dsp:cNvPr id="0" name=""/>
        <dsp:cNvSpPr/>
      </dsp:nvSpPr>
      <dsp:spPr>
        <a:xfrm>
          <a:off x="6126866" y="1632554"/>
          <a:ext cx="1012497" cy="101249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67BAE08-DB3B-416B-87C1-759C1343CD35}">
      <dsp:nvSpPr>
        <dsp:cNvPr id="0" name=""/>
        <dsp:cNvSpPr/>
      </dsp:nvSpPr>
      <dsp:spPr>
        <a:xfrm rot="5400000">
          <a:off x="8938727" y="444569"/>
          <a:ext cx="3572137" cy="594395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FDA3A7-D86E-40E7-8FEE-62AA3C776CC0}">
      <dsp:nvSpPr>
        <dsp:cNvPr id="0" name=""/>
        <dsp:cNvSpPr/>
      </dsp:nvSpPr>
      <dsp:spPr>
        <a:xfrm>
          <a:off x="8342449" y="2220532"/>
          <a:ext cx="5366237" cy="47038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6220" tIns="236220" rIns="236220" bIns="236220" numCol="1" spcCol="1270" anchor="t" anchorCtr="0">
          <a:noAutofit/>
        </a:bodyPr>
        <a:lstStyle/>
        <a:p>
          <a:pPr lvl="0" algn="l" defTabSz="2755900">
            <a:lnSpc>
              <a:spcPct val="90000"/>
            </a:lnSpc>
            <a:spcBef>
              <a:spcPct val="0"/>
            </a:spcBef>
            <a:spcAft>
              <a:spcPct val="35000"/>
            </a:spcAft>
          </a:pPr>
          <a:r>
            <a:rPr lang="uk-UA" sz="6200" kern="1200" noProof="0" dirty="0"/>
            <a:t>Накази визнати незаконними та скасувати</a:t>
          </a:r>
        </a:p>
      </dsp:txBody>
      <dsp:txXfrm>
        <a:off x="8342449" y="2220532"/>
        <a:ext cx="5366237" cy="4703821"/>
      </dsp:txXfrm>
    </dsp:sp>
    <dsp:sp modelId="{2989465F-E1D8-4038-8309-7CFFB4DEE4B0}">
      <dsp:nvSpPr>
        <dsp:cNvPr id="0" name=""/>
        <dsp:cNvSpPr/>
      </dsp:nvSpPr>
      <dsp:spPr>
        <a:xfrm>
          <a:off x="12696188" y="6969"/>
          <a:ext cx="1012497" cy="101249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42972E-E5EC-4955-AE36-4D7FEC72FF04}">
      <dsp:nvSpPr>
        <dsp:cNvPr id="0" name=""/>
        <dsp:cNvSpPr/>
      </dsp:nvSpPr>
      <dsp:spPr>
        <a:xfrm rot="5400000">
          <a:off x="15508050" y="-1181015"/>
          <a:ext cx="3572137" cy="594395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73F882-23B3-4E1E-A884-51636CA914EA}">
      <dsp:nvSpPr>
        <dsp:cNvPr id="0" name=""/>
        <dsp:cNvSpPr/>
      </dsp:nvSpPr>
      <dsp:spPr>
        <a:xfrm>
          <a:off x="14911771" y="594946"/>
          <a:ext cx="5366237" cy="47038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6220" tIns="236220" rIns="236220" bIns="236220" numCol="1" spcCol="1270" anchor="t" anchorCtr="0">
          <a:noAutofit/>
        </a:bodyPr>
        <a:lstStyle/>
        <a:p>
          <a:pPr lvl="0" algn="l" defTabSz="2755900">
            <a:lnSpc>
              <a:spcPct val="90000"/>
            </a:lnSpc>
            <a:spcBef>
              <a:spcPct val="0"/>
            </a:spcBef>
            <a:spcAft>
              <a:spcPct val="35000"/>
            </a:spcAft>
          </a:pPr>
          <a:r>
            <a:rPr lang="uk-UA" sz="6200" b="0" i="0" kern="1200" noProof="0" dirty="0"/>
            <a:t>Стягнути судовий збір</a:t>
          </a:r>
          <a:endParaRPr lang="uk-UA" sz="6200" kern="1200" noProof="0" dirty="0"/>
        </a:p>
      </dsp:txBody>
      <dsp:txXfrm>
        <a:off x="14911771" y="594946"/>
        <a:ext cx="5366237" cy="4703821"/>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F985C4-2067-4047-BA7D-3E7421B6ADF5}">
      <dsp:nvSpPr>
        <dsp:cNvPr id="0" name=""/>
        <dsp:cNvSpPr/>
      </dsp:nvSpPr>
      <dsp:spPr>
        <a:xfrm>
          <a:off x="0" y="0"/>
          <a:ext cx="2173044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949010-F43F-4273-BF25-436505F95A4B}">
      <dsp:nvSpPr>
        <dsp:cNvPr id="0" name=""/>
        <dsp:cNvSpPr/>
      </dsp:nvSpPr>
      <dsp:spPr>
        <a:xfrm>
          <a:off x="0" y="0"/>
          <a:ext cx="2517298" cy="7853082"/>
        </a:xfrm>
        <a:prstGeom prst="rect">
          <a:avLst/>
        </a:prstGeom>
        <a:solidFill>
          <a:schemeClr val="accent2">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vert270" wrap="square" lIns="182880" tIns="182880" rIns="182880" bIns="182880" numCol="1" spcCol="1270" anchor="t" anchorCtr="0">
          <a:noAutofit/>
        </a:bodyPr>
        <a:lstStyle/>
        <a:p>
          <a:pPr lvl="0" algn="ctr" defTabSz="2133600">
            <a:lnSpc>
              <a:spcPct val="90000"/>
            </a:lnSpc>
            <a:spcBef>
              <a:spcPct val="0"/>
            </a:spcBef>
            <a:spcAft>
              <a:spcPct val="35000"/>
            </a:spcAft>
          </a:pPr>
          <a:r>
            <a:rPr lang="uk-UA" sz="4800" kern="1200" dirty="0"/>
            <a:t>Справа про звільнення за прогул (медична частина) </a:t>
          </a:r>
        </a:p>
        <a:p>
          <a:pPr lvl="0" algn="ctr" defTabSz="2133600">
            <a:lnSpc>
              <a:spcPct val="90000"/>
            </a:lnSpc>
            <a:spcBef>
              <a:spcPct val="0"/>
            </a:spcBef>
            <a:spcAft>
              <a:spcPct val="35000"/>
            </a:spcAft>
          </a:pPr>
          <a:r>
            <a:rPr lang="ru-RU" sz="4800" b="0" i="0" kern="1200" dirty="0"/>
            <a:t>Справа № </a:t>
          </a:r>
          <a:r>
            <a:rPr lang="ru-UA" sz="4800" b="0" i="0" kern="1200" dirty="0"/>
            <a:t>750/2698/22</a:t>
          </a:r>
          <a:endParaRPr lang="ru-UA" sz="4800" kern="1200" dirty="0"/>
        </a:p>
      </dsp:txBody>
      <dsp:txXfrm>
        <a:off x="0" y="0"/>
        <a:ext cx="2517298" cy="7853082"/>
      </dsp:txXfrm>
    </dsp:sp>
    <dsp:sp modelId="{84131AAB-2705-453B-9466-179E67A33C0A}">
      <dsp:nvSpPr>
        <dsp:cNvPr id="0" name=""/>
        <dsp:cNvSpPr/>
      </dsp:nvSpPr>
      <dsp:spPr>
        <a:xfrm>
          <a:off x="2843255" y="122704"/>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lvl="0" algn="l" defTabSz="1644650">
            <a:lnSpc>
              <a:spcPct val="90000"/>
            </a:lnSpc>
            <a:spcBef>
              <a:spcPct val="0"/>
            </a:spcBef>
            <a:spcAft>
              <a:spcPct val="35000"/>
            </a:spcAft>
          </a:pPr>
          <a:r>
            <a:rPr lang="uk-UA" sz="3700" kern="1200" dirty="0"/>
            <a:t>Військовий госпіталь у Чернігові працював. </a:t>
          </a:r>
          <a:r>
            <a:rPr lang="uk-UA" sz="3700" b="0" i="0" kern="1200" noProof="0" dirty="0"/>
            <a:t>Позивач 24.02.2022 перебувала на робочому місці, а вже з 25.02.2022 її на робочому місці не було. </a:t>
          </a:r>
          <a:endParaRPr lang="ru-UA" sz="3700" kern="1200" dirty="0"/>
        </a:p>
      </dsp:txBody>
      <dsp:txXfrm>
        <a:off x="2843255" y="122704"/>
        <a:ext cx="17058400" cy="2454088"/>
      </dsp:txXfrm>
    </dsp:sp>
    <dsp:sp modelId="{81DB2667-891F-46F6-87CB-9D0638423E56}">
      <dsp:nvSpPr>
        <dsp:cNvPr id="0" name=""/>
        <dsp:cNvSpPr/>
      </dsp:nvSpPr>
      <dsp:spPr>
        <a:xfrm>
          <a:off x="2517298" y="2576792"/>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07DF82-DC38-4B52-A931-DAA4389F017B}">
      <dsp:nvSpPr>
        <dsp:cNvPr id="0" name=""/>
        <dsp:cNvSpPr/>
      </dsp:nvSpPr>
      <dsp:spPr>
        <a:xfrm>
          <a:off x="2843255" y="2699496"/>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lvl="0" algn="l" defTabSz="1644650">
            <a:lnSpc>
              <a:spcPct val="90000"/>
            </a:lnSpc>
            <a:spcBef>
              <a:spcPct val="0"/>
            </a:spcBef>
            <a:spcAft>
              <a:spcPct val="35000"/>
            </a:spcAft>
          </a:pPr>
          <a:r>
            <a:rPr lang="uk-UA" sz="3700" b="0" i="0" kern="1200" noProof="0" dirty="0"/>
            <a:t>На дзвінки не відповідала, адресу, куди можна щось надіслати не залишила. Згоду профспілкового комітету отримали.</a:t>
          </a:r>
        </a:p>
        <a:p>
          <a:pPr lvl="0" algn="l" defTabSz="1644650">
            <a:lnSpc>
              <a:spcPct val="90000"/>
            </a:lnSpc>
            <a:spcBef>
              <a:spcPct val="0"/>
            </a:spcBef>
            <a:spcAft>
              <a:spcPct val="35000"/>
            </a:spcAft>
          </a:pPr>
          <a:r>
            <a:rPr lang="uk-UA" sz="3700" b="0" i="0" kern="1200" noProof="0" dirty="0"/>
            <a:t>09.03.2022 позивачем була направлена єдина заява, датована 25.02.2022 року, про видачу наказу про простій починаючи з 25.02.2022</a:t>
          </a:r>
        </a:p>
      </dsp:txBody>
      <dsp:txXfrm>
        <a:off x="2843255" y="2699496"/>
        <a:ext cx="17058400" cy="2454088"/>
      </dsp:txXfrm>
    </dsp:sp>
    <dsp:sp modelId="{6B27170D-1061-408B-8B34-5CBCA78B88AB}">
      <dsp:nvSpPr>
        <dsp:cNvPr id="0" name=""/>
        <dsp:cNvSpPr/>
      </dsp:nvSpPr>
      <dsp:spPr>
        <a:xfrm>
          <a:off x="2517298" y="5153585"/>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F3146E-A2AB-42BA-A1FD-33AF22DFB1C4}">
      <dsp:nvSpPr>
        <dsp:cNvPr id="0" name=""/>
        <dsp:cNvSpPr/>
      </dsp:nvSpPr>
      <dsp:spPr>
        <a:xfrm>
          <a:off x="2843255" y="5276289"/>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lvl="0" algn="l" defTabSz="1644650">
            <a:lnSpc>
              <a:spcPct val="90000"/>
            </a:lnSpc>
            <a:spcBef>
              <a:spcPct val="0"/>
            </a:spcBef>
            <a:spcAft>
              <a:spcPct val="35000"/>
            </a:spcAft>
          </a:pPr>
          <a:r>
            <a:rPr lang="uk-UA" sz="3700" b="0" i="0" kern="1200" noProof="0" dirty="0"/>
            <a:t>14.03.2022 року позивач була звільнена з роботи за п.4 чт.40 КЗпП України за прогул без поважних причин. </a:t>
          </a:r>
          <a:endParaRPr lang="uk-UA" sz="3700" kern="1200" noProof="0" dirty="0"/>
        </a:p>
      </dsp:txBody>
      <dsp:txXfrm>
        <a:off x="2843255" y="5276289"/>
        <a:ext cx="17058400" cy="2454088"/>
      </dsp:txXfrm>
    </dsp:sp>
    <dsp:sp modelId="{98DF41B8-5D6A-4631-BC1D-C5063401B9D3}">
      <dsp:nvSpPr>
        <dsp:cNvPr id="0" name=""/>
        <dsp:cNvSpPr/>
      </dsp:nvSpPr>
      <dsp:spPr>
        <a:xfrm>
          <a:off x="2517298" y="7730377"/>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2CA74-C898-4810-8215-DDD291D3907C}">
      <dsp:nvSpPr>
        <dsp:cNvPr id="0" name=""/>
        <dsp:cNvSpPr/>
      </dsp:nvSpPr>
      <dsp:spPr>
        <a:xfrm>
          <a:off x="0" y="2261998"/>
          <a:ext cx="21929822" cy="15210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l" defTabSz="2889250">
            <a:lnSpc>
              <a:spcPct val="90000"/>
            </a:lnSpc>
            <a:spcBef>
              <a:spcPct val="0"/>
            </a:spcBef>
            <a:spcAft>
              <a:spcPct val="35000"/>
            </a:spcAft>
          </a:pPr>
          <a:r>
            <a:rPr lang="uk-UA" sz="6500" b="0" i="0" kern="1200" noProof="0" dirty="0"/>
            <a:t>Заклад працював</a:t>
          </a:r>
          <a:endParaRPr lang="uk-UA" sz="6500" kern="1200" noProof="0" dirty="0"/>
        </a:p>
      </dsp:txBody>
      <dsp:txXfrm>
        <a:off x="74249" y="2336247"/>
        <a:ext cx="21781324" cy="1372502"/>
      </dsp:txXfrm>
    </dsp:sp>
    <dsp:sp modelId="{F2663DDB-AF79-4774-94A4-303448794070}">
      <dsp:nvSpPr>
        <dsp:cNvPr id="0" name=""/>
        <dsp:cNvSpPr/>
      </dsp:nvSpPr>
      <dsp:spPr>
        <a:xfrm>
          <a:off x="0" y="3782998"/>
          <a:ext cx="21929822"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6272" tIns="50800" rIns="284480" bIns="50800" numCol="1" spcCol="1270" anchor="t" anchorCtr="0">
          <a:noAutofit/>
        </a:bodyPr>
        <a:lstStyle/>
        <a:p>
          <a:pPr marL="285750" lvl="1" indent="-285750" algn="l" defTabSz="1778000">
            <a:lnSpc>
              <a:spcPct val="90000"/>
            </a:lnSpc>
            <a:spcBef>
              <a:spcPct val="0"/>
            </a:spcBef>
            <a:spcAft>
              <a:spcPct val="20000"/>
            </a:spcAft>
            <a:buChar char="••"/>
          </a:pPr>
          <a:r>
            <a:rPr lang="uk-UA" sz="4000" b="0" i="0" kern="1200" noProof="0" dirty="0"/>
            <a:t>Інші працівники працювали</a:t>
          </a:r>
          <a:endParaRPr lang="uk-UA" sz="4000" kern="1200" noProof="0" dirty="0"/>
        </a:p>
      </dsp:txBody>
      <dsp:txXfrm>
        <a:off x="0" y="3782998"/>
        <a:ext cx="21929822" cy="1076400"/>
      </dsp:txXfrm>
    </dsp:sp>
    <dsp:sp modelId="{D69BF492-A030-4636-B7E7-C0086D7751C0}">
      <dsp:nvSpPr>
        <dsp:cNvPr id="0" name=""/>
        <dsp:cNvSpPr/>
      </dsp:nvSpPr>
      <dsp:spPr>
        <a:xfrm>
          <a:off x="0" y="4859398"/>
          <a:ext cx="21929822" cy="15210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l" defTabSz="2889250">
            <a:lnSpc>
              <a:spcPct val="90000"/>
            </a:lnSpc>
            <a:spcBef>
              <a:spcPct val="0"/>
            </a:spcBef>
            <a:spcAft>
              <a:spcPct val="35000"/>
            </a:spcAft>
          </a:pPr>
          <a:r>
            <a:rPr lang="uk-UA" sz="6500" b="0" i="0" kern="1200" noProof="0" dirty="0"/>
            <a:t>Рішення про евакуацію у м. Чернігів не приймалось</a:t>
          </a:r>
          <a:endParaRPr lang="uk-UA" sz="6500" kern="1200" noProof="0" dirty="0"/>
        </a:p>
      </dsp:txBody>
      <dsp:txXfrm>
        <a:off x="74249" y="4933647"/>
        <a:ext cx="21781324" cy="1372502"/>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62C84-9419-4108-8F83-43E4E180EB19}">
      <dsp:nvSpPr>
        <dsp:cNvPr id="0" name=""/>
        <dsp:cNvSpPr/>
      </dsp:nvSpPr>
      <dsp:spPr>
        <a:xfrm rot="5400000">
          <a:off x="8514528" y="-462722"/>
          <a:ext cx="4417715" cy="7350979"/>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E99759-AF57-4683-B740-A753C1B8EA17}">
      <dsp:nvSpPr>
        <dsp:cNvPr id="0" name=""/>
        <dsp:cNvSpPr/>
      </dsp:nvSpPr>
      <dsp:spPr>
        <a:xfrm>
          <a:off x="7777102" y="1733636"/>
          <a:ext cx="6636505" cy="5817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lvl="0" algn="l" defTabSz="2889250">
            <a:lnSpc>
              <a:spcPct val="90000"/>
            </a:lnSpc>
            <a:spcBef>
              <a:spcPct val="0"/>
            </a:spcBef>
            <a:spcAft>
              <a:spcPct val="35000"/>
            </a:spcAft>
          </a:pPr>
          <a:r>
            <a:rPr lang="uk-UA" sz="6500" kern="1200" noProof="0" dirty="0"/>
            <a:t>У задоволенні позову відмовлено</a:t>
          </a:r>
        </a:p>
      </dsp:txBody>
      <dsp:txXfrm>
        <a:off x="7777102" y="1733636"/>
        <a:ext cx="6636505" cy="5817286"/>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F985C4-2067-4047-BA7D-3E7421B6ADF5}">
      <dsp:nvSpPr>
        <dsp:cNvPr id="0" name=""/>
        <dsp:cNvSpPr/>
      </dsp:nvSpPr>
      <dsp:spPr>
        <a:xfrm>
          <a:off x="0" y="0"/>
          <a:ext cx="2173044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949010-F43F-4273-BF25-436505F95A4B}">
      <dsp:nvSpPr>
        <dsp:cNvPr id="0" name=""/>
        <dsp:cNvSpPr/>
      </dsp:nvSpPr>
      <dsp:spPr>
        <a:xfrm>
          <a:off x="0" y="0"/>
          <a:ext cx="2517298" cy="7853082"/>
        </a:xfrm>
        <a:prstGeom prst="rect">
          <a:avLst/>
        </a:prstGeom>
        <a:solidFill>
          <a:schemeClr val="accent2">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vert270" wrap="square" lIns="182880" tIns="182880" rIns="182880" bIns="182880" numCol="1" spcCol="1270" anchor="t" anchorCtr="0">
          <a:noAutofit/>
        </a:bodyPr>
        <a:lstStyle/>
        <a:p>
          <a:pPr lvl="0" algn="ctr" defTabSz="2133600">
            <a:lnSpc>
              <a:spcPct val="90000"/>
            </a:lnSpc>
            <a:spcBef>
              <a:spcPct val="0"/>
            </a:spcBef>
            <a:spcAft>
              <a:spcPct val="35000"/>
            </a:spcAft>
          </a:pPr>
          <a:r>
            <a:rPr lang="uk-UA" sz="4800" kern="1200" dirty="0"/>
            <a:t>Справа про призупинення ТД (КП лісгосп) </a:t>
          </a:r>
        </a:p>
        <a:p>
          <a:pPr lvl="0" algn="ctr" defTabSz="2133600">
            <a:lnSpc>
              <a:spcPct val="90000"/>
            </a:lnSpc>
            <a:spcBef>
              <a:spcPct val="0"/>
            </a:spcBef>
            <a:spcAft>
              <a:spcPct val="35000"/>
            </a:spcAft>
          </a:pPr>
          <a:r>
            <a:rPr lang="ru-RU" sz="4800" b="0" i="0" kern="1200" dirty="0"/>
            <a:t>Справа № </a:t>
          </a:r>
          <a:r>
            <a:rPr lang="ru-UA" sz="4800" b="0" i="0" kern="1200" dirty="0"/>
            <a:t>279/1611/22</a:t>
          </a:r>
          <a:endParaRPr lang="ru-UA" sz="4800" kern="1200" dirty="0"/>
        </a:p>
      </dsp:txBody>
      <dsp:txXfrm>
        <a:off x="0" y="0"/>
        <a:ext cx="2517298" cy="7853082"/>
      </dsp:txXfrm>
    </dsp:sp>
    <dsp:sp modelId="{84131AAB-2705-453B-9466-179E67A33C0A}">
      <dsp:nvSpPr>
        <dsp:cNvPr id="0" name=""/>
        <dsp:cNvSpPr/>
      </dsp:nvSpPr>
      <dsp:spPr>
        <a:xfrm>
          <a:off x="2843255" y="122704"/>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kern="1200" dirty="0"/>
            <a:t>Призупинено Трудовий </a:t>
          </a:r>
          <a:r>
            <a:rPr lang="uk-UA" sz="3300" kern="1200" noProof="0" dirty="0"/>
            <a:t>договір </a:t>
          </a:r>
          <a:r>
            <a:rPr lang="uk-UA" sz="3300" b="0" i="0" kern="1200" noProof="0" dirty="0"/>
            <a:t>у зв`язку з військовою агресією проти України, що виключає можливість надання та виконання роботи з метою збереження життя та здоров`я працівника </a:t>
          </a:r>
          <a:endParaRPr lang="uk-UA" sz="3300" kern="1200" noProof="0" dirty="0"/>
        </a:p>
      </dsp:txBody>
      <dsp:txXfrm>
        <a:off x="2843255" y="122704"/>
        <a:ext cx="17058400" cy="2454088"/>
      </dsp:txXfrm>
    </dsp:sp>
    <dsp:sp modelId="{81DB2667-891F-46F6-87CB-9D0638423E56}">
      <dsp:nvSpPr>
        <dsp:cNvPr id="0" name=""/>
        <dsp:cNvSpPr/>
      </dsp:nvSpPr>
      <dsp:spPr>
        <a:xfrm>
          <a:off x="2517298" y="2576792"/>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07DF82-DC38-4B52-A931-DAA4389F017B}">
      <dsp:nvSpPr>
        <dsp:cNvPr id="0" name=""/>
        <dsp:cNvSpPr/>
      </dsp:nvSpPr>
      <dsp:spPr>
        <a:xfrm>
          <a:off x="2843255" y="2699496"/>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b="0" i="0" kern="1200" noProof="0" dirty="0"/>
            <a:t>Наказ не містить посилання на підстави, що виключають можливість обом сторонам трудових відносин виконувати обов`язки, передбачені трудовим договором, інформації про причини призупинення та умови відновлення дії трудового договору</a:t>
          </a:r>
        </a:p>
      </dsp:txBody>
      <dsp:txXfrm>
        <a:off x="2843255" y="2699496"/>
        <a:ext cx="17058400" cy="2454088"/>
      </dsp:txXfrm>
    </dsp:sp>
    <dsp:sp modelId="{6B27170D-1061-408B-8B34-5CBCA78B88AB}">
      <dsp:nvSpPr>
        <dsp:cNvPr id="0" name=""/>
        <dsp:cNvSpPr/>
      </dsp:nvSpPr>
      <dsp:spPr>
        <a:xfrm>
          <a:off x="2517298" y="5153585"/>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F3146E-A2AB-42BA-A1FD-33AF22DFB1C4}">
      <dsp:nvSpPr>
        <dsp:cNvPr id="0" name=""/>
        <dsp:cNvSpPr/>
      </dsp:nvSpPr>
      <dsp:spPr>
        <a:xfrm>
          <a:off x="2843255" y="5276289"/>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b="0" i="0" kern="1200" noProof="0" dirty="0"/>
            <a:t>В обході № 3 </a:t>
          </a:r>
          <a:r>
            <a:rPr lang="uk-UA" sz="3300" b="0" i="0" kern="1200" noProof="0" dirty="0" err="1"/>
            <a:t>Ушомирського</a:t>
          </a:r>
          <a:r>
            <a:rPr lang="uk-UA" sz="3300" b="0" i="0" kern="1200" noProof="0" dirty="0"/>
            <a:t> лісництва продовжуються виконуватися роботи з рубки лісових насаджень згідно лісорубного квитка № 002341, що підтверджує можливість виконання робіт на обході. Також цей обхід знаходиться в безпосередній близькості до військового </a:t>
          </a:r>
          <a:r>
            <a:rPr lang="uk-UA" sz="3300" b="0" i="0" kern="1200" noProof="0" dirty="0" err="1"/>
            <a:t>об"єкту</a:t>
          </a:r>
          <a:r>
            <a:rPr lang="uk-UA" sz="3300" b="0" i="0" kern="1200" noProof="0" dirty="0"/>
            <a:t> (військова частина), який неодноразово піддавався ракетним та бомбовим ударам</a:t>
          </a:r>
          <a:endParaRPr lang="uk-UA" sz="3300" kern="1200" noProof="0" dirty="0"/>
        </a:p>
      </dsp:txBody>
      <dsp:txXfrm>
        <a:off x="2843255" y="5276289"/>
        <a:ext cx="17058400" cy="2454088"/>
      </dsp:txXfrm>
    </dsp:sp>
    <dsp:sp modelId="{98DF41B8-5D6A-4631-BC1D-C5063401B9D3}">
      <dsp:nvSpPr>
        <dsp:cNvPr id="0" name=""/>
        <dsp:cNvSpPr/>
      </dsp:nvSpPr>
      <dsp:spPr>
        <a:xfrm>
          <a:off x="2517298" y="7730377"/>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2CA74-C898-4810-8215-DDD291D3907C}">
      <dsp:nvSpPr>
        <dsp:cNvPr id="0" name=""/>
        <dsp:cNvSpPr/>
      </dsp:nvSpPr>
      <dsp:spPr>
        <a:xfrm>
          <a:off x="0" y="658726"/>
          <a:ext cx="21929822" cy="228281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l" defTabSz="1911350">
            <a:lnSpc>
              <a:spcPct val="90000"/>
            </a:lnSpc>
            <a:spcBef>
              <a:spcPct val="0"/>
            </a:spcBef>
            <a:spcAft>
              <a:spcPct val="35000"/>
            </a:spcAft>
          </a:pPr>
          <a:r>
            <a:rPr lang="uk-UA" sz="4300" b="0" i="0" kern="1200" noProof="0" dirty="0">
              <a:solidFill>
                <a:schemeClr val="tx1"/>
              </a:solidFill>
            </a:rPr>
            <a:t>В умовах воєнного або надзвичайного стану можуть встановлюватися окремі обмеження прав і свобод із зазначенням строку дії цих обмежень (ст. 64 КУ)</a:t>
          </a:r>
          <a:endParaRPr lang="uk-UA" sz="4300" kern="1200" noProof="0" dirty="0">
            <a:solidFill>
              <a:schemeClr val="tx1"/>
            </a:solidFill>
          </a:endParaRPr>
        </a:p>
      </dsp:txBody>
      <dsp:txXfrm>
        <a:off x="111438" y="770164"/>
        <a:ext cx="21706946" cy="2059940"/>
      </dsp:txXfrm>
    </dsp:sp>
    <dsp:sp modelId="{F2663DDB-AF79-4774-94A4-303448794070}">
      <dsp:nvSpPr>
        <dsp:cNvPr id="0" name=""/>
        <dsp:cNvSpPr/>
      </dsp:nvSpPr>
      <dsp:spPr>
        <a:xfrm>
          <a:off x="0" y="2941542"/>
          <a:ext cx="21929822" cy="2759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6272" tIns="50800" rIns="284480" bIns="50800" numCol="1" spcCol="1270" anchor="t" anchorCtr="0">
          <a:noAutofit/>
        </a:bodyPr>
        <a:lstStyle/>
        <a:p>
          <a:pPr marL="285750" lvl="1" indent="-285750" algn="l" defTabSz="1778000">
            <a:lnSpc>
              <a:spcPct val="90000"/>
            </a:lnSpc>
            <a:spcBef>
              <a:spcPct val="0"/>
            </a:spcBef>
            <a:spcAft>
              <a:spcPct val="20000"/>
            </a:spcAft>
            <a:buChar char="••"/>
          </a:pPr>
          <a:r>
            <a:rPr lang="uk-UA" sz="4000" b="0" i="0" kern="1200" noProof="0" dirty="0"/>
            <a:t>Призупинення дії трудового договору - це тимчасове припинення роботодавцем забезпечення працівника роботою і тимчасове припинення працівником виконання роботи за укладеним трудовим договором. Дія трудового договору може бути призупинена у зв`язку з військовою агресією проти України, що виключає можливість надання та виконання роботи. </a:t>
          </a:r>
          <a:endParaRPr lang="uk-UA" sz="4000" kern="1200" noProof="0" dirty="0"/>
        </a:p>
      </dsp:txBody>
      <dsp:txXfrm>
        <a:off x="0" y="2941542"/>
        <a:ext cx="21929822" cy="2759310"/>
      </dsp:txXfrm>
    </dsp:sp>
    <dsp:sp modelId="{D69BF492-A030-4636-B7E7-C0086D7751C0}">
      <dsp:nvSpPr>
        <dsp:cNvPr id="0" name=""/>
        <dsp:cNvSpPr/>
      </dsp:nvSpPr>
      <dsp:spPr>
        <a:xfrm>
          <a:off x="0" y="5700853"/>
          <a:ext cx="21929822" cy="228281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l" defTabSz="1911350">
            <a:lnSpc>
              <a:spcPct val="90000"/>
            </a:lnSpc>
            <a:spcBef>
              <a:spcPct val="0"/>
            </a:spcBef>
            <a:spcAft>
              <a:spcPct val="35000"/>
            </a:spcAft>
          </a:pPr>
          <a:r>
            <a:rPr lang="uk-UA" sz="4300" b="1" i="0" kern="1200" noProof="0" dirty="0">
              <a:solidFill>
                <a:schemeClr val="tx1"/>
              </a:solidFill>
            </a:rPr>
            <a:t>Простій не є тотожним поняттям призупиненню трудового договору, оскільки підставою для призупинення дії трудового договору є відсутність роботи або відсутність її виконання працівником лише під час воєнного стану.</a:t>
          </a:r>
          <a:endParaRPr lang="uk-UA" sz="4300" b="1" kern="1200" noProof="0" dirty="0">
            <a:solidFill>
              <a:schemeClr val="tx1"/>
            </a:solidFill>
          </a:endParaRPr>
        </a:p>
      </dsp:txBody>
      <dsp:txXfrm>
        <a:off x="111438" y="5812291"/>
        <a:ext cx="21706946" cy="20599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1D0633-22A5-490D-9A43-9C18C48CDD52}">
      <dsp:nvSpPr>
        <dsp:cNvPr id="0" name=""/>
        <dsp:cNvSpPr/>
      </dsp:nvSpPr>
      <dsp:spPr>
        <a:xfrm>
          <a:off x="6740" y="2010131"/>
          <a:ext cx="6571829" cy="397169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lvl="0" algn="ctr" defTabSz="1333500">
            <a:lnSpc>
              <a:spcPct val="90000"/>
            </a:lnSpc>
            <a:spcBef>
              <a:spcPct val="0"/>
            </a:spcBef>
            <a:spcAft>
              <a:spcPct val="35000"/>
            </a:spcAft>
          </a:pPr>
          <a:r>
            <a:rPr lang="uk-UA" sz="3000" b="0" i="0" kern="1200" noProof="0" dirty="0">
              <a:solidFill>
                <a:schemeClr val="tx1"/>
              </a:solidFill>
            </a:rPr>
            <a:t>спосіб та мінімальний строк повідомлення працівника про початок виконання роботи, який повинен бути достатнім для своєчасного початку виконання працівником своїх обов’язків;</a:t>
          </a:r>
          <a:endParaRPr lang="uk-UA" sz="3000" kern="1200" noProof="0" dirty="0">
            <a:solidFill>
              <a:schemeClr val="tx1"/>
            </a:solidFill>
          </a:endParaRPr>
        </a:p>
      </dsp:txBody>
      <dsp:txXfrm>
        <a:off x="6740" y="2010131"/>
        <a:ext cx="6571829" cy="3971698"/>
      </dsp:txXfrm>
    </dsp:sp>
    <dsp:sp modelId="{059DAF36-FAA5-451D-8428-5A373FF99DC5}">
      <dsp:nvSpPr>
        <dsp:cNvPr id="0" name=""/>
        <dsp:cNvSpPr/>
      </dsp:nvSpPr>
      <dsp:spPr>
        <a:xfrm>
          <a:off x="6740" y="5310346"/>
          <a:ext cx="6571829" cy="13176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26D65E-9136-4390-8FB7-B07A3CFC756F}">
      <dsp:nvSpPr>
        <dsp:cNvPr id="0" name=""/>
        <dsp:cNvSpPr/>
      </dsp:nvSpPr>
      <dsp:spPr>
        <a:xfrm>
          <a:off x="7498625" y="2345873"/>
          <a:ext cx="6571829" cy="262873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lvl="0" algn="ctr" defTabSz="1333500">
            <a:lnSpc>
              <a:spcPct val="90000"/>
            </a:lnSpc>
            <a:spcBef>
              <a:spcPct val="0"/>
            </a:spcBef>
            <a:spcAft>
              <a:spcPct val="35000"/>
            </a:spcAft>
          </a:pPr>
          <a:r>
            <a:rPr lang="uk-UA" sz="3000" b="0" i="0" kern="1200" noProof="0" dirty="0">
              <a:solidFill>
                <a:schemeClr val="tx1"/>
              </a:solidFill>
            </a:rPr>
            <a:t>спосіб та максимальний строк повідомлення від працівника про готовність приступити до роботи або про відмову від її виконання у випадках, передбачених частиною восьмою цієї статті;</a:t>
          </a:r>
        </a:p>
      </dsp:txBody>
      <dsp:txXfrm>
        <a:off x="7498625" y="2345873"/>
        <a:ext cx="6571829" cy="2628731"/>
      </dsp:txXfrm>
    </dsp:sp>
    <dsp:sp modelId="{D00858F7-B3F9-42E4-93CD-A4FB1BC88DC6}">
      <dsp:nvSpPr>
        <dsp:cNvPr id="0" name=""/>
        <dsp:cNvSpPr/>
      </dsp:nvSpPr>
      <dsp:spPr>
        <a:xfrm>
          <a:off x="7498625" y="4974604"/>
          <a:ext cx="6571829" cy="13176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F3D3820-4494-49F7-9A96-A024FD33180F}">
      <dsp:nvSpPr>
        <dsp:cNvPr id="0" name=""/>
        <dsp:cNvSpPr/>
      </dsp:nvSpPr>
      <dsp:spPr>
        <a:xfrm>
          <a:off x="14990511" y="2345873"/>
          <a:ext cx="6571829" cy="262873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lvl="0" algn="ctr" defTabSz="1333500">
            <a:lnSpc>
              <a:spcPct val="90000"/>
            </a:lnSpc>
            <a:spcBef>
              <a:spcPct val="0"/>
            </a:spcBef>
            <a:spcAft>
              <a:spcPct val="35000"/>
            </a:spcAft>
          </a:pPr>
          <a:r>
            <a:rPr lang="uk-UA" sz="3000" b="0" i="0" kern="1200" noProof="0" dirty="0">
              <a:solidFill>
                <a:schemeClr val="tx1"/>
              </a:solidFill>
            </a:rPr>
            <a:t>інтервали, під час яких від працівника можуть вимагати працювати (базові години та дні).</a:t>
          </a:r>
        </a:p>
      </dsp:txBody>
      <dsp:txXfrm>
        <a:off x="14990511" y="2345873"/>
        <a:ext cx="6571829" cy="2628731"/>
      </dsp:txXfrm>
    </dsp:sp>
    <dsp:sp modelId="{449E2DB8-0CDC-4CDE-A8D6-345651298BAA}">
      <dsp:nvSpPr>
        <dsp:cNvPr id="0" name=""/>
        <dsp:cNvSpPr/>
      </dsp:nvSpPr>
      <dsp:spPr>
        <a:xfrm>
          <a:off x="14990511" y="4974604"/>
          <a:ext cx="6571829" cy="13176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62C84-9419-4108-8F83-43E4E180EB19}">
      <dsp:nvSpPr>
        <dsp:cNvPr id="0" name=""/>
        <dsp:cNvSpPr/>
      </dsp:nvSpPr>
      <dsp:spPr>
        <a:xfrm rot="5400000">
          <a:off x="4458470" y="546117"/>
          <a:ext cx="4413401" cy="734380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E99759-AF57-4683-B740-A753C1B8EA17}">
      <dsp:nvSpPr>
        <dsp:cNvPr id="0" name=""/>
        <dsp:cNvSpPr/>
      </dsp:nvSpPr>
      <dsp:spPr>
        <a:xfrm>
          <a:off x="3721763" y="2740332"/>
          <a:ext cx="6630024" cy="5811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lvl="0" algn="l" defTabSz="2889250">
            <a:lnSpc>
              <a:spcPct val="90000"/>
            </a:lnSpc>
            <a:spcBef>
              <a:spcPct val="0"/>
            </a:spcBef>
            <a:spcAft>
              <a:spcPct val="35000"/>
            </a:spcAft>
          </a:pPr>
          <a:r>
            <a:rPr lang="uk-UA" sz="6500" kern="1200" noProof="0" dirty="0"/>
            <a:t>У задоволенні позову відмовлено</a:t>
          </a:r>
        </a:p>
      </dsp:txBody>
      <dsp:txXfrm>
        <a:off x="3721763" y="2740332"/>
        <a:ext cx="6630024" cy="5811605"/>
      </dsp:txXfrm>
    </dsp:sp>
    <dsp:sp modelId="{4AABF11A-928C-46D7-818D-C0E5A550E661}">
      <dsp:nvSpPr>
        <dsp:cNvPr id="0" name=""/>
        <dsp:cNvSpPr/>
      </dsp:nvSpPr>
      <dsp:spPr>
        <a:xfrm>
          <a:off x="9100840" y="5459"/>
          <a:ext cx="1250948" cy="1250948"/>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497371-7E28-4022-A02C-84310E523EDD}">
      <dsp:nvSpPr>
        <dsp:cNvPr id="0" name=""/>
        <dsp:cNvSpPr/>
      </dsp:nvSpPr>
      <dsp:spPr>
        <a:xfrm rot="5400000">
          <a:off x="12574915" y="-1462304"/>
          <a:ext cx="4413401" cy="734380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094594-ED11-44C6-911E-352B3C410FCF}">
      <dsp:nvSpPr>
        <dsp:cNvPr id="0" name=""/>
        <dsp:cNvSpPr/>
      </dsp:nvSpPr>
      <dsp:spPr>
        <a:xfrm>
          <a:off x="11838209" y="731909"/>
          <a:ext cx="6630024" cy="5811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lvl="0" algn="l" defTabSz="2889250">
            <a:lnSpc>
              <a:spcPct val="90000"/>
            </a:lnSpc>
            <a:spcBef>
              <a:spcPct val="0"/>
            </a:spcBef>
            <a:spcAft>
              <a:spcPct val="35000"/>
            </a:spcAft>
          </a:pPr>
          <a:r>
            <a:rPr lang="uk-UA" sz="6500" kern="1200" noProof="0" dirty="0"/>
            <a:t>Апеляційна скарга залишена без задоволення</a:t>
          </a:r>
        </a:p>
      </dsp:txBody>
      <dsp:txXfrm>
        <a:off x="11838209" y="731909"/>
        <a:ext cx="6630024" cy="5811605"/>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F985C4-2067-4047-BA7D-3E7421B6ADF5}">
      <dsp:nvSpPr>
        <dsp:cNvPr id="0" name=""/>
        <dsp:cNvSpPr/>
      </dsp:nvSpPr>
      <dsp:spPr>
        <a:xfrm>
          <a:off x="0" y="0"/>
          <a:ext cx="2173044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949010-F43F-4273-BF25-436505F95A4B}">
      <dsp:nvSpPr>
        <dsp:cNvPr id="0" name=""/>
        <dsp:cNvSpPr/>
      </dsp:nvSpPr>
      <dsp:spPr>
        <a:xfrm>
          <a:off x="0" y="0"/>
          <a:ext cx="2517298" cy="7853082"/>
        </a:xfrm>
        <a:prstGeom prst="rect">
          <a:avLst/>
        </a:prstGeom>
        <a:solidFill>
          <a:schemeClr val="accent2">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vert270" wrap="square" lIns="163830" tIns="163830" rIns="163830" bIns="163830" numCol="1" spcCol="1270" anchor="t" anchorCtr="0">
          <a:noAutofit/>
        </a:bodyPr>
        <a:lstStyle/>
        <a:p>
          <a:pPr lvl="0" algn="ctr" defTabSz="1911350">
            <a:lnSpc>
              <a:spcPct val="90000"/>
            </a:lnSpc>
            <a:spcBef>
              <a:spcPct val="0"/>
            </a:spcBef>
            <a:spcAft>
              <a:spcPct val="35000"/>
            </a:spcAft>
          </a:pPr>
          <a:r>
            <a:rPr lang="uk-UA" sz="4300" kern="1200" noProof="1"/>
            <a:t>Справа про призупинення ТД (медчастина - Укрзалізниця) </a:t>
          </a:r>
        </a:p>
        <a:p>
          <a:pPr lvl="0" algn="ctr" defTabSz="1911350">
            <a:lnSpc>
              <a:spcPct val="90000"/>
            </a:lnSpc>
            <a:spcBef>
              <a:spcPct val="0"/>
            </a:spcBef>
            <a:spcAft>
              <a:spcPct val="35000"/>
            </a:spcAft>
          </a:pPr>
          <a:r>
            <a:rPr lang="uk-UA" sz="4300" b="0" i="0" kern="1200" noProof="1"/>
            <a:t>Справа № 149/1089/22</a:t>
          </a:r>
          <a:endParaRPr lang="uk-UA" sz="4300" kern="1200" noProof="1"/>
        </a:p>
      </dsp:txBody>
      <dsp:txXfrm>
        <a:off x="0" y="0"/>
        <a:ext cx="2517298" cy="7853082"/>
      </dsp:txXfrm>
    </dsp:sp>
    <dsp:sp modelId="{84131AAB-2705-453B-9466-179E67A33C0A}">
      <dsp:nvSpPr>
        <dsp:cNvPr id="0" name=""/>
        <dsp:cNvSpPr/>
      </dsp:nvSpPr>
      <dsp:spPr>
        <a:xfrm>
          <a:off x="2843255" y="122704"/>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b="0" i="0" kern="1200" noProof="1"/>
            <a:t>03.03.2022 року деяким працівникам було встановлено режим простою з 07.03.2022 року до відміни воєнного стану. Позивача цей наказ не стосується. Наказом від 22.04.2022 року дію трудового договору позивача з 25.04.2022 року призупинено до відновлення, але не пізніше дня припинення або скасування воєнного стану.</a:t>
          </a:r>
          <a:endParaRPr lang="uk-UA" sz="3300" kern="1200" noProof="1"/>
        </a:p>
      </dsp:txBody>
      <dsp:txXfrm>
        <a:off x="2843255" y="122704"/>
        <a:ext cx="17058400" cy="2454088"/>
      </dsp:txXfrm>
    </dsp:sp>
    <dsp:sp modelId="{81DB2667-891F-46F6-87CB-9D0638423E56}">
      <dsp:nvSpPr>
        <dsp:cNvPr id="0" name=""/>
        <dsp:cNvSpPr/>
      </dsp:nvSpPr>
      <dsp:spPr>
        <a:xfrm>
          <a:off x="2517298" y="2576792"/>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07DF82-DC38-4B52-A931-DAA4389F017B}">
      <dsp:nvSpPr>
        <dsp:cNvPr id="0" name=""/>
        <dsp:cNvSpPr/>
      </dsp:nvSpPr>
      <dsp:spPr>
        <a:xfrm>
          <a:off x="2843255" y="2699496"/>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b="0" i="0" kern="1200" noProof="1"/>
            <a:t>Наказ обгрунтовано відсутністю умов для організації та виконання виробничого процесу санаторно-курортного лікування відповідно до ст. 13 Закону України "Про організацію трудових відносин в умовах воєнного стану" від 15.03.2022 року, Указу Президента України "Про введення воєнного стану в Україні" від 24.02.2022 року.</a:t>
          </a:r>
        </a:p>
      </dsp:txBody>
      <dsp:txXfrm>
        <a:off x="2843255" y="2699496"/>
        <a:ext cx="17058400" cy="2454088"/>
      </dsp:txXfrm>
    </dsp:sp>
    <dsp:sp modelId="{6B27170D-1061-408B-8B34-5CBCA78B88AB}">
      <dsp:nvSpPr>
        <dsp:cNvPr id="0" name=""/>
        <dsp:cNvSpPr/>
      </dsp:nvSpPr>
      <dsp:spPr>
        <a:xfrm>
          <a:off x="2517298" y="5153585"/>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F3146E-A2AB-42BA-A1FD-33AF22DFB1C4}">
      <dsp:nvSpPr>
        <dsp:cNvPr id="0" name=""/>
        <dsp:cNvSpPr/>
      </dsp:nvSpPr>
      <dsp:spPr>
        <a:xfrm>
          <a:off x="2843255" y="5276289"/>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b="0" i="0" kern="1200" noProof="1"/>
            <a:t>Позивач може виконувати свою роботу за посадою, знаходиться по місцю свого проживання. Місто Хмільник Вінницької області де розташовано її робоче місце, не відноситься до зони бойових дій, не є окупованою територією, де є неможливим надання та виконання роботи за її трудовим договором. При цьому </a:t>
          </a:r>
          <a:r>
            <a:rPr lang="ru-RU" sz="3300" b="0" i="0" kern="1200" dirty="0" err="1"/>
            <a:t>працює</a:t>
          </a:r>
          <a:r>
            <a:rPr lang="ru-RU" sz="3300" b="0" i="0" kern="1200" dirty="0"/>
            <a:t> весь </a:t>
          </a:r>
          <a:r>
            <a:rPr lang="uk-UA" sz="3300" b="0" i="0" kern="1200" noProof="0" dirty="0"/>
            <a:t>медичний персонал</a:t>
          </a:r>
          <a:endParaRPr lang="uk-UA" sz="3300" kern="1200" noProof="0" dirty="0"/>
        </a:p>
      </dsp:txBody>
      <dsp:txXfrm>
        <a:off x="2843255" y="5276289"/>
        <a:ext cx="17058400" cy="2454088"/>
      </dsp:txXfrm>
    </dsp:sp>
    <dsp:sp modelId="{98DF41B8-5D6A-4631-BC1D-C5063401B9D3}">
      <dsp:nvSpPr>
        <dsp:cNvPr id="0" name=""/>
        <dsp:cNvSpPr/>
      </dsp:nvSpPr>
      <dsp:spPr>
        <a:xfrm>
          <a:off x="2517298" y="7730377"/>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76C98-66B2-4071-87BD-C900196035CA}">
      <dsp:nvSpPr>
        <dsp:cNvPr id="0" name=""/>
        <dsp:cNvSpPr/>
      </dsp:nvSpPr>
      <dsp:spPr>
        <a:xfrm>
          <a:off x="0" y="75950"/>
          <a:ext cx="21371859" cy="25108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lvl="0" algn="l" defTabSz="1644650">
            <a:lnSpc>
              <a:spcPct val="90000"/>
            </a:lnSpc>
            <a:spcBef>
              <a:spcPct val="0"/>
            </a:spcBef>
            <a:spcAft>
              <a:spcPct val="35000"/>
            </a:spcAft>
          </a:pPr>
          <a:r>
            <a:rPr lang="uk-UA" sz="3700" b="0" i="0" kern="1200" noProof="0" dirty="0">
              <a:solidFill>
                <a:schemeClr val="tx1"/>
              </a:solidFill>
            </a:rPr>
            <a:t>Призупинення дії трудового договору - це тимчасове припинення роботодавцем забезпечення працівника роботою і тимчасове припинення працівником виконання роботи за укладеним трудовим договором у зв`язку із збройною агресією проти України, що виключає можливість обох сторін трудових відносин виконувати обов`язки, передбачені трудовим договором.</a:t>
          </a:r>
          <a:endParaRPr lang="uk-UA" sz="3700" kern="1200" noProof="0" dirty="0">
            <a:solidFill>
              <a:schemeClr val="tx1"/>
            </a:solidFill>
          </a:endParaRPr>
        </a:p>
      </dsp:txBody>
      <dsp:txXfrm>
        <a:off x="122568" y="198518"/>
        <a:ext cx="21126723" cy="2265684"/>
      </dsp:txXfrm>
    </dsp:sp>
    <dsp:sp modelId="{2E5F7BCE-65B0-4293-938A-C34D466531C3}">
      <dsp:nvSpPr>
        <dsp:cNvPr id="0" name=""/>
        <dsp:cNvSpPr/>
      </dsp:nvSpPr>
      <dsp:spPr>
        <a:xfrm>
          <a:off x="0" y="2586770"/>
          <a:ext cx="21371859" cy="10531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78557" tIns="45720" rIns="256032" bIns="45720" numCol="1" spcCol="1270" anchor="t" anchorCtr="0">
          <a:noAutofit/>
        </a:bodyPr>
        <a:lstStyle/>
        <a:p>
          <a:pPr marL="285750" lvl="1" indent="-285750" algn="l" defTabSz="1600200">
            <a:lnSpc>
              <a:spcPct val="90000"/>
            </a:lnSpc>
            <a:spcBef>
              <a:spcPct val="0"/>
            </a:spcBef>
            <a:spcAft>
              <a:spcPct val="20000"/>
            </a:spcAft>
            <a:buChar char="••"/>
          </a:pPr>
          <a:r>
            <a:rPr lang="uk-UA" sz="3600" b="0" i="0" kern="1200" noProof="0" dirty="0"/>
            <a:t>Призупинення дії трудового договору може здійснюватися за ініціативи однієї із сторін на строк не більше ніж період дії воєнного стану. </a:t>
          </a:r>
          <a:endParaRPr lang="uk-UA" sz="3600" kern="1200" noProof="0" dirty="0"/>
        </a:p>
      </dsp:txBody>
      <dsp:txXfrm>
        <a:off x="0" y="2586770"/>
        <a:ext cx="21371859" cy="1053112"/>
      </dsp:txXfrm>
    </dsp:sp>
    <dsp:sp modelId="{164C48F5-6D9C-440A-817F-84F936FA9D9B}">
      <dsp:nvSpPr>
        <dsp:cNvPr id="0" name=""/>
        <dsp:cNvSpPr/>
      </dsp:nvSpPr>
      <dsp:spPr>
        <a:xfrm>
          <a:off x="0" y="3639883"/>
          <a:ext cx="21371859" cy="25108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lvl="0" algn="l" defTabSz="1644650">
            <a:lnSpc>
              <a:spcPct val="90000"/>
            </a:lnSpc>
            <a:spcBef>
              <a:spcPct val="0"/>
            </a:spcBef>
            <a:spcAft>
              <a:spcPct val="35000"/>
            </a:spcAft>
          </a:pPr>
          <a:r>
            <a:rPr lang="uk-UA" sz="3700" b="0" i="0" kern="1200" noProof="0" dirty="0">
              <a:solidFill>
                <a:schemeClr val="tx1"/>
              </a:solidFill>
            </a:rPr>
            <a:t>Призупинення дії трудового договору не тягне за собою припинення трудових відносин.</a:t>
          </a:r>
          <a:endParaRPr lang="uk-UA" sz="3700" kern="1200" noProof="0" dirty="0">
            <a:solidFill>
              <a:schemeClr val="tx1"/>
            </a:solidFill>
          </a:endParaRPr>
        </a:p>
      </dsp:txBody>
      <dsp:txXfrm>
        <a:off x="122568" y="3762451"/>
        <a:ext cx="21126723" cy="2265684"/>
      </dsp:txXfrm>
    </dsp:sp>
    <dsp:sp modelId="{28001010-8508-476D-80EF-6462BB08F942}">
      <dsp:nvSpPr>
        <dsp:cNvPr id="0" name=""/>
        <dsp:cNvSpPr/>
      </dsp:nvSpPr>
      <dsp:spPr>
        <a:xfrm>
          <a:off x="0" y="6150703"/>
          <a:ext cx="21371859" cy="1531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78557" tIns="45720" rIns="256032" bIns="45720" numCol="1" spcCol="1270" anchor="t" anchorCtr="0">
          <a:noAutofit/>
        </a:bodyPr>
        <a:lstStyle/>
        <a:p>
          <a:pPr marL="285750" lvl="1" indent="-285750" algn="l" defTabSz="1600200">
            <a:lnSpc>
              <a:spcPct val="90000"/>
            </a:lnSpc>
            <a:spcBef>
              <a:spcPct val="0"/>
            </a:spcBef>
            <a:spcAft>
              <a:spcPct val="20000"/>
            </a:spcAft>
            <a:buChar char="••"/>
          </a:pPr>
          <a:r>
            <a:rPr lang="uk-UA" sz="3600" b="0" i="0" kern="1200" noProof="0" dirty="0"/>
            <a:t>Призупинення дії трудового договору не може бути прихованим покаранням і не застосовується до керівників та заступників керівників державних органів, а також посадових осіб місцевого самоврядування, які обіймають виборні посади.</a:t>
          </a:r>
          <a:endParaRPr lang="uk-UA" sz="3600" kern="1200" noProof="0" dirty="0"/>
        </a:p>
      </dsp:txBody>
      <dsp:txXfrm>
        <a:off x="0" y="6150703"/>
        <a:ext cx="21371859" cy="1531800"/>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76C98-66B2-4071-87BD-C900196035CA}">
      <dsp:nvSpPr>
        <dsp:cNvPr id="0" name=""/>
        <dsp:cNvSpPr/>
      </dsp:nvSpPr>
      <dsp:spPr>
        <a:xfrm>
          <a:off x="0" y="225170"/>
          <a:ext cx="21371859" cy="53235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l" defTabSz="2889250">
            <a:lnSpc>
              <a:spcPct val="90000"/>
            </a:lnSpc>
            <a:spcBef>
              <a:spcPct val="0"/>
            </a:spcBef>
            <a:spcAft>
              <a:spcPct val="35000"/>
            </a:spcAft>
          </a:pPr>
          <a:r>
            <a:rPr lang="uk-UA" sz="6500" b="0" i="0" kern="1200" noProof="0" dirty="0">
              <a:solidFill>
                <a:schemeClr val="tx1"/>
              </a:solidFill>
            </a:rPr>
            <a:t>Таке право роботодавця не є абсолютним. Головною умовою призупинення трудового договору з працівником, є абсолютна неможливість роботодавця надати роботу, а працівника - виконувати її.</a:t>
          </a:r>
          <a:endParaRPr lang="uk-UA" sz="6500" kern="1200" noProof="0" dirty="0">
            <a:solidFill>
              <a:schemeClr val="tx1"/>
            </a:solidFill>
          </a:endParaRPr>
        </a:p>
      </dsp:txBody>
      <dsp:txXfrm>
        <a:off x="259872" y="485042"/>
        <a:ext cx="20852115" cy="4803756"/>
      </dsp:txXfrm>
    </dsp:sp>
    <dsp:sp modelId="{2E5F7BCE-65B0-4293-938A-C34D466531C3}">
      <dsp:nvSpPr>
        <dsp:cNvPr id="0" name=""/>
        <dsp:cNvSpPr/>
      </dsp:nvSpPr>
      <dsp:spPr>
        <a:xfrm>
          <a:off x="0" y="5548670"/>
          <a:ext cx="21371859" cy="1984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78557" tIns="45720" rIns="256032" bIns="45720" numCol="1" spcCol="1270" anchor="t" anchorCtr="0">
          <a:noAutofit/>
        </a:bodyPr>
        <a:lstStyle/>
        <a:p>
          <a:pPr marL="285750" lvl="1" indent="-285750" algn="l" defTabSz="1600200">
            <a:lnSpc>
              <a:spcPct val="90000"/>
            </a:lnSpc>
            <a:spcBef>
              <a:spcPct val="0"/>
            </a:spcBef>
            <a:spcAft>
              <a:spcPct val="20000"/>
            </a:spcAft>
            <a:buChar char="••"/>
          </a:pPr>
          <a:r>
            <a:rPr lang="uk-UA" sz="3600" b="0" i="0" kern="1200" noProof="0" dirty="0"/>
            <a:t>Головною умовою для призупинення дії трудового договору є абсолютна неможливість надання роботодавцем та виконання працівником відповідної роботи. Призупинення дії трудового договору не тягне за собою припинення трудових відносин, а також виконання інших обов`язків, передбачених трудовим договором.</a:t>
          </a:r>
          <a:endParaRPr lang="uk-UA" sz="3600" kern="1200" noProof="0" dirty="0"/>
        </a:p>
      </dsp:txBody>
      <dsp:txXfrm>
        <a:off x="0" y="5548670"/>
        <a:ext cx="21371859" cy="1984612"/>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62C84-9419-4108-8F83-43E4E180EB19}">
      <dsp:nvSpPr>
        <dsp:cNvPr id="0" name=""/>
        <dsp:cNvSpPr/>
      </dsp:nvSpPr>
      <dsp:spPr>
        <a:xfrm rot="5400000">
          <a:off x="997615" y="3111991"/>
          <a:ext cx="2985409" cy="4967654"/>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E99759-AF57-4683-B740-A753C1B8EA17}">
      <dsp:nvSpPr>
        <dsp:cNvPr id="0" name=""/>
        <dsp:cNvSpPr/>
      </dsp:nvSpPr>
      <dsp:spPr>
        <a:xfrm>
          <a:off x="499276" y="4596249"/>
          <a:ext cx="4484826" cy="3931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lvl="0" algn="l" defTabSz="1600200">
            <a:lnSpc>
              <a:spcPct val="90000"/>
            </a:lnSpc>
            <a:spcBef>
              <a:spcPct val="0"/>
            </a:spcBef>
            <a:spcAft>
              <a:spcPct val="35000"/>
            </a:spcAft>
          </a:pPr>
          <a:r>
            <a:rPr lang="uk-UA" sz="3600" kern="1200" noProof="0" dirty="0"/>
            <a:t>Позов задовольнити частково</a:t>
          </a:r>
        </a:p>
      </dsp:txBody>
      <dsp:txXfrm>
        <a:off x="499276" y="4596249"/>
        <a:ext cx="4484826" cy="3931213"/>
      </dsp:txXfrm>
    </dsp:sp>
    <dsp:sp modelId="{4AABF11A-928C-46D7-818D-C0E5A550E661}">
      <dsp:nvSpPr>
        <dsp:cNvPr id="0" name=""/>
        <dsp:cNvSpPr/>
      </dsp:nvSpPr>
      <dsp:spPr>
        <a:xfrm>
          <a:off x="4137908" y="2746266"/>
          <a:ext cx="846193" cy="84619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497371-7E28-4022-A02C-84310E523EDD}">
      <dsp:nvSpPr>
        <dsp:cNvPr id="0" name=""/>
        <dsp:cNvSpPr/>
      </dsp:nvSpPr>
      <dsp:spPr>
        <a:xfrm rot="5400000">
          <a:off x="6487918" y="1753410"/>
          <a:ext cx="2985409" cy="4967654"/>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094594-ED11-44C6-911E-352B3C410FCF}">
      <dsp:nvSpPr>
        <dsp:cNvPr id="0" name=""/>
        <dsp:cNvSpPr/>
      </dsp:nvSpPr>
      <dsp:spPr>
        <a:xfrm>
          <a:off x="5989579" y="3237668"/>
          <a:ext cx="4484826" cy="3931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lvl="0" algn="l" defTabSz="1600200">
            <a:lnSpc>
              <a:spcPct val="90000"/>
            </a:lnSpc>
            <a:spcBef>
              <a:spcPct val="0"/>
            </a:spcBef>
            <a:spcAft>
              <a:spcPct val="35000"/>
            </a:spcAft>
          </a:pPr>
          <a:r>
            <a:rPr lang="uk-UA" sz="3600" kern="1200" noProof="0" dirty="0"/>
            <a:t>Наказ визнати незаконним та скасувати</a:t>
          </a:r>
        </a:p>
      </dsp:txBody>
      <dsp:txXfrm>
        <a:off x="5989579" y="3237668"/>
        <a:ext cx="4484826" cy="3931213"/>
      </dsp:txXfrm>
    </dsp:sp>
    <dsp:sp modelId="{A9AA70A9-D745-46DE-8FE8-2B69DDD4EC12}">
      <dsp:nvSpPr>
        <dsp:cNvPr id="0" name=""/>
        <dsp:cNvSpPr/>
      </dsp:nvSpPr>
      <dsp:spPr>
        <a:xfrm>
          <a:off x="9628211" y="1387685"/>
          <a:ext cx="846193" cy="84619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219CF5-7640-4FF4-BF0B-73C8DDA94E5C}">
      <dsp:nvSpPr>
        <dsp:cNvPr id="0" name=""/>
        <dsp:cNvSpPr/>
      </dsp:nvSpPr>
      <dsp:spPr>
        <a:xfrm rot="5400000">
          <a:off x="11978221" y="394829"/>
          <a:ext cx="2985409" cy="4967654"/>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3CB8AE4-399D-491E-B7D6-05CA7A4677B7}">
      <dsp:nvSpPr>
        <dsp:cNvPr id="0" name=""/>
        <dsp:cNvSpPr/>
      </dsp:nvSpPr>
      <dsp:spPr>
        <a:xfrm>
          <a:off x="11479882" y="1879087"/>
          <a:ext cx="4484826" cy="3931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lvl="0" algn="l" defTabSz="1600200">
            <a:lnSpc>
              <a:spcPct val="90000"/>
            </a:lnSpc>
            <a:spcBef>
              <a:spcPct val="0"/>
            </a:spcBef>
            <a:spcAft>
              <a:spcPct val="35000"/>
            </a:spcAft>
          </a:pPr>
          <a:r>
            <a:rPr lang="uk-UA" sz="3600" b="0" i="0" kern="1200" noProof="0" dirty="0"/>
            <a:t>Зобов’язати відповідача нарахувати та виплатити середню заробітну плату за час вимушеного прогулу.</a:t>
          </a:r>
          <a:endParaRPr lang="uk-UA" sz="3600" kern="1200" noProof="0" dirty="0"/>
        </a:p>
      </dsp:txBody>
      <dsp:txXfrm>
        <a:off x="11479882" y="1879087"/>
        <a:ext cx="4484826" cy="3931213"/>
      </dsp:txXfrm>
    </dsp:sp>
    <dsp:sp modelId="{1108250D-E413-4010-B0E9-EB475CC9F925}">
      <dsp:nvSpPr>
        <dsp:cNvPr id="0" name=""/>
        <dsp:cNvSpPr/>
      </dsp:nvSpPr>
      <dsp:spPr>
        <a:xfrm>
          <a:off x="15118515" y="29104"/>
          <a:ext cx="846193" cy="84619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AF7D4B-9406-45C3-A52C-73987753EBD7}">
      <dsp:nvSpPr>
        <dsp:cNvPr id="0" name=""/>
        <dsp:cNvSpPr/>
      </dsp:nvSpPr>
      <dsp:spPr>
        <a:xfrm rot="5400000">
          <a:off x="17468525" y="-963751"/>
          <a:ext cx="2985409" cy="4967654"/>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9AC8F2-9EA9-4020-AEDF-27EB33B9FDC7}">
      <dsp:nvSpPr>
        <dsp:cNvPr id="0" name=""/>
        <dsp:cNvSpPr/>
      </dsp:nvSpPr>
      <dsp:spPr>
        <a:xfrm>
          <a:off x="16970186" y="520506"/>
          <a:ext cx="4484826" cy="3931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lvl="0" algn="l" defTabSz="1600200">
            <a:lnSpc>
              <a:spcPct val="90000"/>
            </a:lnSpc>
            <a:spcBef>
              <a:spcPct val="0"/>
            </a:spcBef>
            <a:spcAft>
              <a:spcPct val="35000"/>
            </a:spcAft>
          </a:pPr>
          <a:r>
            <a:rPr lang="uk-UA" sz="3600" kern="1200" noProof="0" dirty="0"/>
            <a:t>Стягнути судовий збір</a:t>
          </a:r>
        </a:p>
      </dsp:txBody>
      <dsp:txXfrm>
        <a:off x="16970186" y="520506"/>
        <a:ext cx="4484826" cy="3931213"/>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F985C4-2067-4047-BA7D-3E7421B6ADF5}">
      <dsp:nvSpPr>
        <dsp:cNvPr id="0" name=""/>
        <dsp:cNvSpPr/>
      </dsp:nvSpPr>
      <dsp:spPr>
        <a:xfrm>
          <a:off x="0" y="0"/>
          <a:ext cx="2173044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949010-F43F-4273-BF25-436505F95A4B}">
      <dsp:nvSpPr>
        <dsp:cNvPr id="0" name=""/>
        <dsp:cNvSpPr/>
      </dsp:nvSpPr>
      <dsp:spPr>
        <a:xfrm>
          <a:off x="0" y="0"/>
          <a:ext cx="2517298" cy="7853082"/>
        </a:xfrm>
        <a:prstGeom prst="rect">
          <a:avLst/>
        </a:prstGeom>
        <a:solidFill>
          <a:schemeClr val="accent2">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vert270" wrap="square" lIns="182880" tIns="182880" rIns="182880" bIns="182880" numCol="1" spcCol="1270" anchor="t" anchorCtr="0">
          <a:noAutofit/>
        </a:bodyPr>
        <a:lstStyle/>
        <a:p>
          <a:pPr lvl="0" algn="ctr" defTabSz="2133600">
            <a:lnSpc>
              <a:spcPct val="90000"/>
            </a:lnSpc>
            <a:spcBef>
              <a:spcPct val="0"/>
            </a:spcBef>
            <a:spcAft>
              <a:spcPct val="35000"/>
            </a:spcAft>
          </a:pPr>
          <a:r>
            <a:rPr lang="uk-UA" sz="4800" kern="1200" noProof="0" dirty="0"/>
            <a:t>Справа про строки звернення до суду</a:t>
          </a:r>
        </a:p>
        <a:p>
          <a:pPr lvl="0" algn="ctr" defTabSz="2133600">
            <a:lnSpc>
              <a:spcPct val="90000"/>
            </a:lnSpc>
            <a:spcBef>
              <a:spcPct val="0"/>
            </a:spcBef>
            <a:spcAft>
              <a:spcPct val="35000"/>
            </a:spcAft>
          </a:pPr>
          <a:r>
            <a:rPr lang="uk-UA" sz="4800" b="0" i="0" kern="1200" noProof="0" dirty="0"/>
            <a:t>Справа № 166/282/22</a:t>
          </a:r>
          <a:endParaRPr lang="uk-UA" sz="4800" kern="1200" noProof="0" dirty="0"/>
        </a:p>
      </dsp:txBody>
      <dsp:txXfrm>
        <a:off x="0" y="0"/>
        <a:ext cx="2517298" cy="7853082"/>
      </dsp:txXfrm>
    </dsp:sp>
    <dsp:sp modelId="{84131AAB-2705-453B-9466-179E67A33C0A}">
      <dsp:nvSpPr>
        <dsp:cNvPr id="0" name=""/>
        <dsp:cNvSpPr/>
      </dsp:nvSpPr>
      <dsp:spPr>
        <a:xfrm>
          <a:off x="2843255" y="122704"/>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b="0" i="0" kern="1200" noProof="0" dirty="0"/>
            <a:t>27 лютого 2022 року звернулася у телефонному режимі до безпосереднього керівника - головного бухгалтера із проханням подати від її імені директору Ратнівської ЦРЛ заяву про надання соціальної відпустки, як матері двох дітей, за 2021 рік на 10 календарних днів із 28 лютого 2022 року. Наступного дня всупереч ч. 1 ст. 19 Закону України «Про відпустки» їй було відмовлено у задоволенні її заяви. </a:t>
          </a:r>
          <a:endParaRPr lang="uk-UA" sz="3300" kern="1200" noProof="0" dirty="0"/>
        </a:p>
      </dsp:txBody>
      <dsp:txXfrm>
        <a:off x="2843255" y="122704"/>
        <a:ext cx="17058400" cy="2454088"/>
      </dsp:txXfrm>
    </dsp:sp>
    <dsp:sp modelId="{81DB2667-891F-46F6-87CB-9D0638423E56}">
      <dsp:nvSpPr>
        <dsp:cNvPr id="0" name=""/>
        <dsp:cNvSpPr/>
      </dsp:nvSpPr>
      <dsp:spPr>
        <a:xfrm>
          <a:off x="2517298" y="2576792"/>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07DF82-DC38-4B52-A931-DAA4389F017B}">
      <dsp:nvSpPr>
        <dsp:cNvPr id="0" name=""/>
        <dsp:cNvSpPr/>
      </dsp:nvSpPr>
      <dsp:spPr>
        <a:xfrm>
          <a:off x="2843255" y="2699496"/>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b="0" i="0" kern="1200" noProof="0" dirty="0"/>
            <a:t>07.03.2022  позивачку звільнено з роботи за прогул без поважних причин (п.4 ч.1 ст.40 КЗпП)</a:t>
          </a:r>
        </a:p>
      </dsp:txBody>
      <dsp:txXfrm>
        <a:off x="2843255" y="2699496"/>
        <a:ext cx="17058400" cy="2454088"/>
      </dsp:txXfrm>
    </dsp:sp>
    <dsp:sp modelId="{6B27170D-1061-408B-8B34-5CBCA78B88AB}">
      <dsp:nvSpPr>
        <dsp:cNvPr id="0" name=""/>
        <dsp:cNvSpPr/>
      </dsp:nvSpPr>
      <dsp:spPr>
        <a:xfrm>
          <a:off x="2517298" y="5153585"/>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F3146E-A2AB-42BA-A1FD-33AF22DFB1C4}">
      <dsp:nvSpPr>
        <dsp:cNvPr id="0" name=""/>
        <dsp:cNvSpPr/>
      </dsp:nvSpPr>
      <dsp:spPr>
        <a:xfrm>
          <a:off x="2843255" y="5276289"/>
          <a:ext cx="17058400" cy="2454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b="0" i="0" kern="1200" noProof="0" dirty="0"/>
            <a:t>Коли загроза вторгнення військових зі </a:t>
          </a:r>
          <a:r>
            <a:rPr lang="uk-UA" sz="3300" b="0" i="0" kern="1200" noProof="0" dirty="0" err="1"/>
            <a:t>сторонни</a:t>
          </a:r>
          <a:r>
            <a:rPr lang="uk-UA" sz="3300" b="0" i="0" kern="1200" noProof="0" dirty="0"/>
            <a:t> Республіки Білорусь дещо зменшилася, позивачка повернулася із дітьми до місця свого проживання та почала брати активну участь у перевезенні гуманітарної допомоги з Республіки Польща. Вказана обставина унеможливила своєчасне звернення до суду із цим позовом, оскільки вона фактично не перебувала за місцем свого фактичного проживання.</a:t>
          </a:r>
          <a:endParaRPr lang="uk-UA" sz="3300" kern="1200" noProof="0" dirty="0"/>
        </a:p>
      </dsp:txBody>
      <dsp:txXfrm>
        <a:off x="2843255" y="5276289"/>
        <a:ext cx="17058400" cy="2454088"/>
      </dsp:txXfrm>
    </dsp:sp>
    <dsp:sp modelId="{98DF41B8-5D6A-4631-BC1D-C5063401B9D3}">
      <dsp:nvSpPr>
        <dsp:cNvPr id="0" name=""/>
        <dsp:cNvSpPr/>
      </dsp:nvSpPr>
      <dsp:spPr>
        <a:xfrm>
          <a:off x="2517298" y="7730377"/>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2CA74-C898-4810-8215-DDD291D3907C}">
      <dsp:nvSpPr>
        <dsp:cNvPr id="0" name=""/>
        <dsp:cNvSpPr/>
      </dsp:nvSpPr>
      <dsp:spPr>
        <a:xfrm>
          <a:off x="0" y="81618"/>
          <a:ext cx="21929822" cy="33908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lvl="0" algn="l" defTabSz="1822450">
            <a:lnSpc>
              <a:spcPct val="90000"/>
            </a:lnSpc>
            <a:spcBef>
              <a:spcPct val="0"/>
            </a:spcBef>
            <a:spcAft>
              <a:spcPct val="35000"/>
            </a:spcAft>
          </a:pPr>
          <a:r>
            <a:rPr lang="uk-UA" sz="4100" b="0" i="0" kern="1200" noProof="0" dirty="0">
              <a:solidFill>
                <a:schemeClr val="tx1"/>
              </a:solidFill>
            </a:rPr>
            <a:t>У період із 28 лютого 2022 року по 04 березня 2022 року була відсутня на робочому місці у зв`язку із веденням воєнних дій та необхідністю збереження свого та дітей життя і здоров`я. Відтак, на думку суду, відсутність позивачки на роботі була зумовлена поважною причиною, тому ознак прогулу не містить.</a:t>
          </a:r>
          <a:endParaRPr lang="uk-UA" sz="4100" kern="1200" noProof="0" dirty="0">
            <a:solidFill>
              <a:schemeClr val="tx1"/>
            </a:solidFill>
          </a:endParaRPr>
        </a:p>
      </dsp:txBody>
      <dsp:txXfrm>
        <a:off x="165529" y="247147"/>
        <a:ext cx="21598764" cy="3059821"/>
      </dsp:txXfrm>
    </dsp:sp>
    <dsp:sp modelId="{F2663DDB-AF79-4774-94A4-303448794070}">
      <dsp:nvSpPr>
        <dsp:cNvPr id="0" name=""/>
        <dsp:cNvSpPr/>
      </dsp:nvSpPr>
      <dsp:spPr>
        <a:xfrm>
          <a:off x="0" y="3472498"/>
          <a:ext cx="21929822" cy="1697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6272" tIns="50800" rIns="284480" bIns="50800" numCol="1" spcCol="1270" anchor="t" anchorCtr="0">
          <a:noAutofit/>
        </a:bodyPr>
        <a:lstStyle/>
        <a:p>
          <a:pPr marL="285750" lvl="1" indent="-285750" algn="l" defTabSz="1778000">
            <a:lnSpc>
              <a:spcPct val="90000"/>
            </a:lnSpc>
            <a:spcBef>
              <a:spcPct val="0"/>
            </a:spcBef>
            <a:spcAft>
              <a:spcPct val="20000"/>
            </a:spcAft>
            <a:buChar char="••"/>
          </a:pPr>
          <a:r>
            <a:rPr lang="uk-UA" sz="4000" b="0" i="0" kern="1200" noProof="0" dirty="0"/>
            <a:t>Оскаржуваний наказ є незаконним, що свідчить про обов`язок роботодавця поновити позивачку на займаній посаді та виплатити середній заробіток за час вимушеного прогулу.</a:t>
          </a:r>
          <a:endParaRPr lang="uk-UA" sz="4000" kern="1200" noProof="0" dirty="0"/>
        </a:p>
      </dsp:txBody>
      <dsp:txXfrm>
        <a:off x="0" y="3472498"/>
        <a:ext cx="21929822" cy="1697400"/>
      </dsp:txXfrm>
    </dsp:sp>
    <dsp:sp modelId="{D69BF492-A030-4636-B7E7-C0086D7751C0}">
      <dsp:nvSpPr>
        <dsp:cNvPr id="0" name=""/>
        <dsp:cNvSpPr/>
      </dsp:nvSpPr>
      <dsp:spPr>
        <a:xfrm>
          <a:off x="0" y="5169898"/>
          <a:ext cx="21929822" cy="33908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lvl="0" algn="l" defTabSz="1822450">
            <a:lnSpc>
              <a:spcPct val="90000"/>
            </a:lnSpc>
            <a:spcBef>
              <a:spcPct val="0"/>
            </a:spcBef>
            <a:spcAft>
              <a:spcPct val="35000"/>
            </a:spcAft>
          </a:pPr>
          <a:r>
            <a:rPr lang="uk-UA" sz="4100" b="0" i="0" kern="1200" noProof="0" dirty="0">
              <a:solidFill>
                <a:schemeClr val="tx1"/>
              </a:solidFill>
            </a:rPr>
            <a:t>Однак суд констатує, що однією із гарантій забезпечення прав і свобод учасників трудових правовідносин є строк звернення працівника до суду за вирішенням трудового спору. Такий строк згідно із ч.1 ст.233 КЗпП України у справах про звільнення визначений в один місяць із дня вручення копії наказу про звільнення або з дня вручення трудової книжки.</a:t>
          </a:r>
          <a:endParaRPr lang="uk-UA" sz="4100" b="1" kern="1200" noProof="0" dirty="0">
            <a:solidFill>
              <a:schemeClr val="tx1"/>
            </a:solidFill>
          </a:endParaRPr>
        </a:p>
      </dsp:txBody>
      <dsp:txXfrm>
        <a:off x="165529" y="5335427"/>
        <a:ext cx="21598764" cy="3059821"/>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62C84-9419-4108-8F83-43E4E180EB19}">
      <dsp:nvSpPr>
        <dsp:cNvPr id="0" name=""/>
        <dsp:cNvSpPr/>
      </dsp:nvSpPr>
      <dsp:spPr>
        <a:xfrm rot="5400000">
          <a:off x="8514528" y="-462722"/>
          <a:ext cx="4417715" cy="7350979"/>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E99759-AF57-4683-B740-A753C1B8EA17}">
      <dsp:nvSpPr>
        <dsp:cNvPr id="0" name=""/>
        <dsp:cNvSpPr/>
      </dsp:nvSpPr>
      <dsp:spPr>
        <a:xfrm>
          <a:off x="7777102" y="1733636"/>
          <a:ext cx="6636505" cy="5817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lvl="0" algn="l" defTabSz="2889250">
            <a:lnSpc>
              <a:spcPct val="90000"/>
            </a:lnSpc>
            <a:spcBef>
              <a:spcPct val="0"/>
            </a:spcBef>
            <a:spcAft>
              <a:spcPct val="35000"/>
            </a:spcAft>
          </a:pPr>
          <a:r>
            <a:rPr lang="uk-UA" sz="6500" kern="1200" noProof="0" dirty="0"/>
            <a:t>У задоволенні заяви про поновлення строку відмовлено</a:t>
          </a:r>
        </a:p>
      </dsp:txBody>
      <dsp:txXfrm>
        <a:off x="7777102" y="1733636"/>
        <a:ext cx="6636505" cy="5817286"/>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F985C4-2067-4047-BA7D-3E7421B6ADF5}">
      <dsp:nvSpPr>
        <dsp:cNvPr id="0" name=""/>
        <dsp:cNvSpPr/>
      </dsp:nvSpPr>
      <dsp:spPr>
        <a:xfrm>
          <a:off x="0" y="0"/>
          <a:ext cx="2173044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949010-F43F-4273-BF25-436505F95A4B}">
      <dsp:nvSpPr>
        <dsp:cNvPr id="0" name=""/>
        <dsp:cNvSpPr/>
      </dsp:nvSpPr>
      <dsp:spPr>
        <a:xfrm>
          <a:off x="0" y="0"/>
          <a:ext cx="2517298" cy="7853082"/>
        </a:xfrm>
        <a:prstGeom prst="rect">
          <a:avLst/>
        </a:prstGeom>
        <a:solidFill>
          <a:schemeClr val="accent2">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vert270" wrap="square" lIns="201930" tIns="201930" rIns="201930" bIns="201930" numCol="1" spcCol="1270" anchor="t" anchorCtr="0">
          <a:noAutofit/>
        </a:bodyPr>
        <a:lstStyle/>
        <a:p>
          <a:pPr lvl="0" algn="ctr" defTabSz="2355850">
            <a:lnSpc>
              <a:spcPct val="90000"/>
            </a:lnSpc>
            <a:spcBef>
              <a:spcPct val="0"/>
            </a:spcBef>
            <a:spcAft>
              <a:spcPct val="35000"/>
            </a:spcAft>
          </a:pPr>
          <a:r>
            <a:rPr lang="uk-UA" sz="5300" kern="1200" noProof="1"/>
            <a:t>Справа про виплату заборгованості за зп </a:t>
          </a:r>
          <a:r>
            <a:rPr lang="uk-UA" sz="5300" b="0" i="0" kern="1200" noProof="1"/>
            <a:t>Справа № </a:t>
          </a:r>
          <a:r>
            <a:rPr lang="ru-UA" sz="5300" b="0" i="0" kern="1200" dirty="0"/>
            <a:t>199/3640/22</a:t>
          </a:r>
          <a:endParaRPr lang="uk-UA" sz="5300" kern="1200" noProof="1"/>
        </a:p>
      </dsp:txBody>
      <dsp:txXfrm>
        <a:off x="0" y="0"/>
        <a:ext cx="2517298" cy="7853082"/>
      </dsp:txXfrm>
    </dsp:sp>
    <dsp:sp modelId="{84131AAB-2705-453B-9466-179E67A33C0A}">
      <dsp:nvSpPr>
        <dsp:cNvPr id="0" name=""/>
        <dsp:cNvSpPr/>
      </dsp:nvSpPr>
      <dsp:spPr>
        <a:xfrm>
          <a:off x="2843255" y="182522"/>
          <a:ext cx="17058400" cy="36504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lvl="0" algn="l" defTabSz="2889250">
            <a:lnSpc>
              <a:spcPct val="90000"/>
            </a:lnSpc>
            <a:spcBef>
              <a:spcPct val="0"/>
            </a:spcBef>
            <a:spcAft>
              <a:spcPct val="35000"/>
            </a:spcAft>
          </a:pPr>
          <a:r>
            <a:rPr lang="uk-UA" sz="6500" b="0" i="0" kern="1200" noProof="1"/>
            <a:t>16.05.2022 позивача звільнено. Розрахунок заборгованості не проведено. Заборгованість з випати зп не погашена.</a:t>
          </a:r>
          <a:endParaRPr lang="uk-UA" sz="6500" kern="1200" noProof="1"/>
        </a:p>
      </dsp:txBody>
      <dsp:txXfrm>
        <a:off x="2843255" y="182522"/>
        <a:ext cx="17058400" cy="3650456"/>
      </dsp:txXfrm>
    </dsp:sp>
    <dsp:sp modelId="{81DB2667-891F-46F6-87CB-9D0638423E56}">
      <dsp:nvSpPr>
        <dsp:cNvPr id="0" name=""/>
        <dsp:cNvSpPr/>
      </dsp:nvSpPr>
      <dsp:spPr>
        <a:xfrm>
          <a:off x="2517298" y="3832978"/>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07DF82-DC38-4B52-A931-DAA4389F017B}">
      <dsp:nvSpPr>
        <dsp:cNvPr id="0" name=""/>
        <dsp:cNvSpPr/>
      </dsp:nvSpPr>
      <dsp:spPr>
        <a:xfrm>
          <a:off x="2843255" y="4015501"/>
          <a:ext cx="17058400" cy="36504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lvl="0" algn="l" defTabSz="2889250">
            <a:lnSpc>
              <a:spcPct val="90000"/>
            </a:lnSpc>
            <a:spcBef>
              <a:spcPct val="0"/>
            </a:spcBef>
            <a:spcAft>
              <a:spcPct val="35000"/>
            </a:spcAft>
          </a:pPr>
          <a:r>
            <a:rPr lang="uk-UA" sz="6500" b="0" i="0" kern="1200" noProof="1"/>
            <a:t>Робоче місце знаходиться у м. Сєвєродонецьк Луганської області </a:t>
          </a:r>
        </a:p>
      </dsp:txBody>
      <dsp:txXfrm>
        <a:off x="2843255" y="4015501"/>
        <a:ext cx="17058400" cy="3650456"/>
      </dsp:txXfrm>
    </dsp:sp>
    <dsp:sp modelId="{6B27170D-1061-408B-8B34-5CBCA78B88AB}">
      <dsp:nvSpPr>
        <dsp:cNvPr id="0" name=""/>
        <dsp:cNvSpPr/>
      </dsp:nvSpPr>
      <dsp:spPr>
        <a:xfrm>
          <a:off x="2517298" y="7665957"/>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2CA74-C898-4810-8215-DDD291D3907C}">
      <dsp:nvSpPr>
        <dsp:cNvPr id="0" name=""/>
        <dsp:cNvSpPr/>
      </dsp:nvSpPr>
      <dsp:spPr>
        <a:xfrm>
          <a:off x="0" y="5416"/>
          <a:ext cx="21929822" cy="37323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lvl="0" algn="l" defTabSz="2444750">
            <a:lnSpc>
              <a:spcPct val="90000"/>
            </a:lnSpc>
            <a:spcBef>
              <a:spcPct val="0"/>
            </a:spcBef>
            <a:spcAft>
              <a:spcPct val="35000"/>
            </a:spcAft>
          </a:pPr>
          <a:r>
            <a:rPr lang="uk-UA" sz="5500" b="0" i="0" kern="1200" noProof="0" dirty="0">
              <a:solidFill>
                <a:schemeClr val="tx1"/>
              </a:solidFill>
            </a:rPr>
            <a:t>Закон України «Про організацію трудових відносин в умовах воєнного стану», що набув чинності 24.03.2022 р., не дає безапеляційних підстав не виплачувати заробітну плату працівникам.</a:t>
          </a:r>
          <a:endParaRPr lang="uk-UA" sz="5500" kern="1200" noProof="0" dirty="0">
            <a:solidFill>
              <a:schemeClr val="tx1"/>
            </a:solidFill>
          </a:endParaRPr>
        </a:p>
      </dsp:txBody>
      <dsp:txXfrm>
        <a:off x="182196" y="187612"/>
        <a:ext cx="21565430" cy="3367908"/>
      </dsp:txXfrm>
    </dsp:sp>
    <dsp:sp modelId="{F2663DDB-AF79-4774-94A4-303448794070}">
      <dsp:nvSpPr>
        <dsp:cNvPr id="0" name=""/>
        <dsp:cNvSpPr/>
      </dsp:nvSpPr>
      <dsp:spPr>
        <a:xfrm>
          <a:off x="0" y="3737716"/>
          <a:ext cx="21929822" cy="11669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6272" tIns="50800" rIns="284480" bIns="50800" numCol="1" spcCol="1270" anchor="t" anchorCtr="0">
          <a:noAutofit/>
        </a:bodyPr>
        <a:lstStyle/>
        <a:p>
          <a:pPr marL="285750" lvl="1" indent="-285750" algn="l" defTabSz="1778000">
            <a:lnSpc>
              <a:spcPct val="90000"/>
            </a:lnSpc>
            <a:spcBef>
              <a:spcPct val="0"/>
            </a:spcBef>
            <a:spcAft>
              <a:spcPct val="20000"/>
            </a:spcAft>
            <a:buChar char="••"/>
          </a:pPr>
          <a:r>
            <a:rPr lang="uk-UA" sz="4000" b="0" i="0" kern="1200" noProof="0" dirty="0"/>
            <a:t>Роботодавець повинен вживати всіх можливих заходів для забезпечення реалізації права працівників на своєчасне отримання заробітної плати.</a:t>
          </a:r>
          <a:endParaRPr lang="uk-UA" sz="4000" kern="1200" noProof="0" dirty="0"/>
        </a:p>
      </dsp:txBody>
      <dsp:txXfrm>
        <a:off x="0" y="3737716"/>
        <a:ext cx="21929822" cy="1166962"/>
      </dsp:txXfrm>
    </dsp:sp>
    <dsp:sp modelId="{D69BF492-A030-4636-B7E7-C0086D7751C0}">
      <dsp:nvSpPr>
        <dsp:cNvPr id="0" name=""/>
        <dsp:cNvSpPr/>
      </dsp:nvSpPr>
      <dsp:spPr>
        <a:xfrm>
          <a:off x="0" y="4904679"/>
          <a:ext cx="21929822" cy="37323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lvl="0" algn="l" defTabSz="2444750">
            <a:lnSpc>
              <a:spcPct val="90000"/>
            </a:lnSpc>
            <a:spcBef>
              <a:spcPct val="0"/>
            </a:spcBef>
            <a:spcAft>
              <a:spcPct val="35000"/>
            </a:spcAft>
          </a:pPr>
          <a:r>
            <a:rPr lang="uk-UA" sz="5500" b="0" i="0" kern="1200" noProof="0" dirty="0">
              <a:solidFill>
                <a:schemeClr val="tx1"/>
              </a:solidFill>
            </a:rPr>
            <a:t>Роботодавець звільняється від відповідальності за порушення зобов`язання щодо строків оплати праці, якщо доведе, що це порушення сталося внаслідок ведення бойових дій або дії інших обставин непереборної сили.</a:t>
          </a:r>
          <a:endParaRPr lang="uk-UA" sz="5500" b="1" kern="1200" noProof="0" dirty="0">
            <a:solidFill>
              <a:schemeClr val="tx1"/>
            </a:solidFill>
          </a:endParaRPr>
        </a:p>
      </dsp:txBody>
      <dsp:txXfrm>
        <a:off x="182196" y="5086875"/>
        <a:ext cx="21565430" cy="33679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816481-8F4C-4749-81C1-5E6BA3E5A48B}">
      <dsp:nvSpPr>
        <dsp:cNvPr id="0" name=""/>
        <dsp:cNvSpPr/>
      </dsp:nvSpPr>
      <dsp:spPr>
        <a:xfrm>
          <a:off x="0" y="3388"/>
          <a:ext cx="22172481"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1AC98D-C0DC-4C3C-97F3-30E4A99148BE}">
      <dsp:nvSpPr>
        <dsp:cNvPr id="0" name=""/>
        <dsp:cNvSpPr/>
      </dsp:nvSpPr>
      <dsp:spPr>
        <a:xfrm>
          <a:off x="0" y="3388"/>
          <a:ext cx="22172481" cy="23106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lvl="0" algn="l" defTabSz="1689100">
            <a:lnSpc>
              <a:spcPct val="90000"/>
            </a:lnSpc>
            <a:spcBef>
              <a:spcPct val="0"/>
            </a:spcBef>
            <a:spcAft>
              <a:spcPct val="35000"/>
            </a:spcAft>
          </a:pPr>
          <a:r>
            <a:rPr lang="uk-UA" sz="3800" b="0" i="0" kern="1200" noProof="0" dirty="0"/>
            <a:t>Кількість базових годин, під час яких від працівника можуть вимагати працювати, не може перевищувати 40 годин на тиждень, а кількість базових днів не може перевищувати 6 днів на тиждень.</a:t>
          </a:r>
          <a:endParaRPr lang="uk-UA" sz="3800" kern="1200" noProof="0" dirty="0"/>
        </a:p>
      </dsp:txBody>
      <dsp:txXfrm>
        <a:off x="0" y="3388"/>
        <a:ext cx="22172481" cy="2310634"/>
      </dsp:txXfrm>
    </dsp:sp>
    <dsp:sp modelId="{F4E2A415-E3B6-4A8D-87B1-B1311FD21720}">
      <dsp:nvSpPr>
        <dsp:cNvPr id="0" name=""/>
        <dsp:cNvSpPr/>
      </dsp:nvSpPr>
      <dsp:spPr>
        <a:xfrm>
          <a:off x="0" y="2314023"/>
          <a:ext cx="22172481"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35038C2-CBDA-43AF-80F2-1706F5B1F6C4}">
      <dsp:nvSpPr>
        <dsp:cNvPr id="0" name=""/>
        <dsp:cNvSpPr/>
      </dsp:nvSpPr>
      <dsp:spPr>
        <a:xfrm>
          <a:off x="0" y="2314023"/>
          <a:ext cx="22172481" cy="23106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lvl="0" algn="l" defTabSz="1689100">
            <a:lnSpc>
              <a:spcPct val="90000"/>
            </a:lnSpc>
            <a:spcBef>
              <a:spcPct val="0"/>
            </a:spcBef>
            <a:spcAft>
              <a:spcPct val="35000"/>
            </a:spcAft>
          </a:pPr>
          <a:r>
            <a:rPr lang="uk-UA" sz="3800" b="0" i="0" kern="1200" noProof="0" dirty="0"/>
            <a:t>Працівник має право відмовитися від виконання роботи, якщо роботодавець вимагає виконання роботи поза межами базових днів та годин або якщо йому було повідомлено про наявність роботи із порушенням мінімальних строків, визначених трудовим договором з нефіксованим робочим часом.</a:t>
          </a:r>
        </a:p>
      </dsp:txBody>
      <dsp:txXfrm>
        <a:off x="0" y="2314023"/>
        <a:ext cx="22172481" cy="2310634"/>
      </dsp:txXfrm>
    </dsp:sp>
    <dsp:sp modelId="{0AF4CCE7-805C-4D52-BEB5-EF347990F08F}">
      <dsp:nvSpPr>
        <dsp:cNvPr id="0" name=""/>
        <dsp:cNvSpPr/>
      </dsp:nvSpPr>
      <dsp:spPr>
        <a:xfrm>
          <a:off x="0" y="4624657"/>
          <a:ext cx="22172481"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690AD46-6222-472E-AE6D-5120F7631E55}">
      <dsp:nvSpPr>
        <dsp:cNvPr id="0" name=""/>
        <dsp:cNvSpPr/>
      </dsp:nvSpPr>
      <dsp:spPr>
        <a:xfrm>
          <a:off x="0" y="4624657"/>
          <a:ext cx="22172481" cy="23106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lvl="0" algn="l" defTabSz="1689100">
            <a:lnSpc>
              <a:spcPct val="90000"/>
            </a:lnSpc>
            <a:spcBef>
              <a:spcPct val="0"/>
            </a:spcBef>
            <a:spcAft>
              <a:spcPct val="35000"/>
            </a:spcAft>
          </a:pPr>
          <a:r>
            <a:rPr lang="uk-UA" sz="3800" b="0" i="0" kern="1200" noProof="0" dirty="0"/>
            <a:t>Відмова працівника від виконання роботи у базові дні та години є підставою для притягнення його до дисциплінарної відповідальності</a:t>
          </a:r>
        </a:p>
      </dsp:txBody>
      <dsp:txXfrm>
        <a:off x="0" y="4624657"/>
        <a:ext cx="22172481" cy="2310634"/>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2CA74-C898-4810-8215-DDD291D3907C}">
      <dsp:nvSpPr>
        <dsp:cNvPr id="0" name=""/>
        <dsp:cNvSpPr/>
      </dsp:nvSpPr>
      <dsp:spPr>
        <a:xfrm>
          <a:off x="0" y="2610073"/>
          <a:ext cx="21929822" cy="34222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a:lnSpc>
              <a:spcPct val="90000"/>
            </a:lnSpc>
            <a:spcBef>
              <a:spcPct val="0"/>
            </a:spcBef>
            <a:spcAft>
              <a:spcPct val="35000"/>
            </a:spcAft>
          </a:pPr>
          <a:r>
            <a:rPr lang="uk-UA" sz="6500" b="0" i="0" kern="1200" noProof="0" dirty="0">
              <a:solidFill>
                <a:schemeClr val="tx1"/>
              </a:solidFill>
            </a:rPr>
            <a:t>Звільнення роботодавця від відповідальності за несвоєчасну оплату праці не звільняє його від обов`язку виплати заробітної плати.</a:t>
          </a:r>
          <a:endParaRPr lang="uk-UA" sz="6500" kern="1200" noProof="0" dirty="0">
            <a:solidFill>
              <a:schemeClr val="tx1"/>
            </a:solidFill>
          </a:endParaRPr>
        </a:p>
      </dsp:txBody>
      <dsp:txXfrm>
        <a:off x="167060" y="2777133"/>
        <a:ext cx="21595702" cy="3088130"/>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62C84-9419-4108-8F83-43E4E180EB19}">
      <dsp:nvSpPr>
        <dsp:cNvPr id="0" name=""/>
        <dsp:cNvSpPr/>
      </dsp:nvSpPr>
      <dsp:spPr>
        <a:xfrm rot="5400000">
          <a:off x="2369405" y="2070155"/>
          <a:ext cx="3572137" cy="594395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E99759-AF57-4683-B740-A753C1B8EA17}">
      <dsp:nvSpPr>
        <dsp:cNvPr id="0" name=""/>
        <dsp:cNvSpPr/>
      </dsp:nvSpPr>
      <dsp:spPr>
        <a:xfrm>
          <a:off x="1773126" y="3846117"/>
          <a:ext cx="5366237" cy="47038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t" anchorCtr="0">
          <a:noAutofit/>
        </a:bodyPr>
        <a:lstStyle/>
        <a:p>
          <a:pPr lvl="0" algn="l" defTabSz="2489200">
            <a:lnSpc>
              <a:spcPct val="90000"/>
            </a:lnSpc>
            <a:spcBef>
              <a:spcPct val="0"/>
            </a:spcBef>
            <a:spcAft>
              <a:spcPct val="35000"/>
            </a:spcAft>
          </a:pPr>
          <a:r>
            <a:rPr lang="uk-UA" sz="5600" kern="1200" noProof="0" dirty="0"/>
            <a:t>Позов задовольнити</a:t>
          </a:r>
        </a:p>
      </dsp:txBody>
      <dsp:txXfrm>
        <a:off x="1773126" y="3846117"/>
        <a:ext cx="5366237" cy="4703821"/>
      </dsp:txXfrm>
    </dsp:sp>
    <dsp:sp modelId="{3170F351-4ECA-4C62-8C1C-6DC424325CA9}">
      <dsp:nvSpPr>
        <dsp:cNvPr id="0" name=""/>
        <dsp:cNvSpPr/>
      </dsp:nvSpPr>
      <dsp:spPr>
        <a:xfrm>
          <a:off x="6126866" y="1632554"/>
          <a:ext cx="1012497" cy="101249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4899ABB-372C-4850-B66A-257AF7B09E4D}">
      <dsp:nvSpPr>
        <dsp:cNvPr id="0" name=""/>
        <dsp:cNvSpPr/>
      </dsp:nvSpPr>
      <dsp:spPr>
        <a:xfrm rot="5400000">
          <a:off x="8938727" y="444569"/>
          <a:ext cx="3572137" cy="594395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1FC2F4-DF6A-4C7E-8BF8-D05818EF8FE7}">
      <dsp:nvSpPr>
        <dsp:cNvPr id="0" name=""/>
        <dsp:cNvSpPr/>
      </dsp:nvSpPr>
      <dsp:spPr>
        <a:xfrm>
          <a:off x="8342449" y="2220532"/>
          <a:ext cx="5366237" cy="47038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t" anchorCtr="0">
          <a:noAutofit/>
        </a:bodyPr>
        <a:lstStyle/>
        <a:p>
          <a:pPr lvl="0" algn="l" defTabSz="2489200">
            <a:lnSpc>
              <a:spcPct val="90000"/>
            </a:lnSpc>
            <a:spcBef>
              <a:spcPct val="0"/>
            </a:spcBef>
            <a:spcAft>
              <a:spcPct val="35000"/>
            </a:spcAft>
          </a:pPr>
          <a:r>
            <a:rPr lang="uk-UA" sz="5600" b="0" i="0" kern="1200" noProof="0" dirty="0"/>
            <a:t>Стягнути заборгованість в розмірі 92018 </a:t>
          </a:r>
          <a:endParaRPr lang="uk-UA" sz="5600" kern="1200" noProof="0" dirty="0"/>
        </a:p>
      </dsp:txBody>
      <dsp:txXfrm>
        <a:off x="8342449" y="2220532"/>
        <a:ext cx="5366237" cy="4703821"/>
      </dsp:txXfrm>
    </dsp:sp>
    <dsp:sp modelId="{D15437D2-EEDE-49CE-B4D3-D29CFC20E53A}">
      <dsp:nvSpPr>
        <dsp:cNvPr id="0" name=""/>
        <dsp:cNvSpPr/>
      </dsp:nvSpPr>
      <dsp:spPr>
        <a:xfrm>
          <a:off x="12696188" y="6969"/>
          <a:ext cx="1012497" cy="1012497"/>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23BDF3-E26B-43A6-94DB-25B7234777CA}">
      <dsp:nvSpPr>
        <dsp:cNvPr id="0" name=""/>
        <dsp:cNvSpPr/>
      </dsp:nvSpPr>
      <dsp:spPr>
        <a:xfrm rot="5400000">
          <a:off x="15508050" y="-1181015"/>
          <a:ext cx="3572137" cy="594395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261690-8A26-43DD-8A2A-B422A1D2C7A6}">
      <dsp:nvSpPr>
        <dsp:cNvPr id="0" name=""/>
        <dsp:cNvSpPr/>
      </dsp:nvSpPr>
      <dsp:spPr>
        <a:xfrm>
          <a:off x="14911771" y="594946"/>
          <a:ext cx="5366237" cy="47038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t" anchorCtr="0">
          <a:noAutofit/>
        </a:bodyPr>
        <a:lstStyle/>
        <a:p>
          <a:pPr lvl="0" algn="l" defTabSz="2489200">
            <a:lnSpc>
              <a:spcPct val="90000"/>
            </a:lnSpc>
            <a:spcBef>
              <a:spcPct val="0"/>
            </a:spcBef>
            <a:spcAft>
              <a:spcPct val="35000"/>
            </a:spcAft>
          </a:pPr>
          <a:r>
            <a:rPr lang="uk-UA" sz="5600" kern="1200" noProof="0" dirty="0"/>
            <a:t>Стягнути судовий збір</a:t>
          </a:r>
        </a:p>
        <a:p>
          <a:pPr lvl="0" algn="l" defTabSz="2489200">
            <a:lnSpc>
              <a:spcPct val="90000"/>
            </a:lnSpc>
            <a:spcBef>
              <a:spcPct val="0"/>
            </a:spcBef>
            <a:spcAft>
              <a:spcPct val="35000"/>
            </a:spcAft>
          </a:pPr>
          <a:endParaRPr lang="uk-UA" sz="5600" kern="1200" noProof="0" dirty="0"/>
        </a:p>
      </dsp:txBody>
      <dsp:txXfrm>
        <a:off x="14911771" y="594946"/>
        <a:ext cx="5366237" cy="4703821"/>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F985C4-2067-4047-BA7D-3E7421B6ADF5}">
      <dsp:nvSpPr>
        <dsp:cNvPr id="0" name=""/>
        <dsp:cNvSpPr/>
      </dsp:nvSpPr>
      <dsp:spPr>
        <a:xfrm>
          <a:off x="0" y="3834"/>
          <a:ext cx="2173044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949010-F43F-4273-BF25-436505F95A4B}">
      <dsp:nvSpPr>
        <dsp:cNvPr id="0" name=""/>
        <dsp:cNvSpPr/>
      </dsp:nvSpPr>
      <dsp:spPr>
        <a:xfrm>
          <a:off x="0" y="3834"/>
          <a:ext cx="2517298" cy="7845412"/>
        </a:xfrm>
        <a:prstGeom prst="rect">
          <a:avLst/>
        </a:prstGeom>
        <a:solidFill>
          <a:schemeClr val="accent2">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vert270" wrap="square" lIns="179070" tIns="179070" rIns="179070" bIns="179070" numCol="1" spcCol="1270" anchor="t" anchorCtr="0">
          <a:noAutofit/>
        </a:bodyPr>
        <a:lstStyle/>
        <a:p>
          <a:pPr lvl="0" algn="ctr" defTabSz="2089150">
            <a:lnSpc>
              <a:spcPct val="90000"/>
            </a:lnSpc>
            <a:spcBef>
              <a:spcPct val="0"/>
            </a:spcBef>
            <a:spcAft>
              <a:spcPct val="35000"/>
            </a:spcAft>
          </a:pPr>
          <a:r>
            <a:rPr lang="uk-UA" sz="4700" kern="1200" noProof="1"/>
            <a:t>Справа про звільнення після припинення простою </a:t>
          </a:r>
          <a:r>
            <a:rPr lang="uk-UA" sz="4700" b="0" i="0" kern="1200" noProof="1"/>
            <a:t>Справа № 554/2454/22</a:t>
          </a:r>
          <a:endParaRPr lang="uk-UA" sz="4700" kern="1200" noProof="1"/>
        </a:p>
      </dsp:txBody>
      <dsp:txXfrm>
        <a:off x="0" y="3834"/>
        <a:ext cx="2517298" cy="7845412"/>
      </dsp:txXfrm>
    </dsp:sp>
    <dsp:sp modelId="{84131AAB-2705-453B-9466-179E67A33C0A}">
      <dsp:nvSpPr>
        <dsp:cNvPr id="0" name=""/>
        <dsp:cNvSpPr/>
      </dsp:nvSpPr>
      <dsp:spPr>
        <a:xfrm>
          <a:off x="2843255" y="96060"/>
          <a:ext cx="17058400" cy="1844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rtl="0">
            <a:lnSpc>
              <a:spcPct val="90000"/>
            </a:lnSpc>
            <a:spcBef>
              <a:spcPct val="0"/>
            </a:spcBef>
            <a:spcAft>
              <a:spcPct val="35000"/>
            </a:spcAft>
          </a:pPr>
          <a:r>
            <a:rPr lang="uk-UA" sz="3200" b="0" i="0" kern="1200" noProof="1"/>
            <a:t>Наказом від 24.02.2022 до відміни для працівників підрозділів регіональної філії встановлено режим простою.</a:t>
          </a:r>
          <a:endParaRPr lang="uk-UA" sz="3200" kern="1200" noProof="1"/>
        </a:p>
      </dsp:txBody>
      <dsp:txXfrm>
        <a:off x="2843255" y="96060"/>
        <a:ext cx="17058400" cy="1844514"/>
      </dsp:txXfrm>
    </dsp:sp>
    <dsp:sp modelId="{81DB2667-891F-46F6-87CB-9D0638423E56}">
      <dsp:nvSpPr>
        <dsp:cNvPr id="0" name=""/>
        <dsp:cNvSpPr/>
      </dsp:nvSpPr>
      <dsp:spPr>
        <a:xfrm>
          <a:off x="2517298" y="1940575"/>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07DF82-DC38-4B52-A931-DAA4389F017B}">
      <dsp:nvSpPr>
        <dsp:cNvPr id="0" name=""/>
        <dsp:cNvSpPr/>
      </dsp:nvSpPr>
      <dsp:spPr>
        <a:xfrm>
          <a:off x="2843255" y="2032800"/>
          <a:ext cx="17058400" cy="1844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1"/>
            <a:t>Відповідно до наказу № 121/ВД від 28.02.2022 «Про припинення режиму простою»,припинено простій та зобов`язано стати до роботи: 09, 10 та 11 березня 2022 року, а з 14 березня 2022 року зобов`язано виконувати обов`язки за своєю посадою постійно.</a:t>
          </a:r>
        </a:p>
      </dsp:txBody>
      <dsp:txXfrm>
        <a:off x="2843255" y="2032800"/>
        <a:ext cx="17058400" cy="1844514"/>
      </dsp:txXfrm>
    </dsp:sp>
    <dsp:sp modelId="{6B27170D-1061-408B-8B34-5CBCA78B88AB}">
      <dsp:nvSpPr>
        <dsp:cNvPr id="0" name=""/>
        <dsp:cNvSpPr/>
      </dsp:nvSpPr>
      <dsp:spPr>
        <a:xfrm>
          <a:off x="2517298" y="3877315"/>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B469E29-8BDC-4B1D-B3D2-557483EA1DA7}">
      <dsp:nvSpPr>
        <dsp:cNvPr id="0" name=""/>
        <dsp:cNvSpPr/>
      </dsp:nvSpPr>
      <dsp:spPr>
        <a:xfrm>
          <a:off x="2843255" y="3969541"/>
          <a:ext cx="17058400" cy="1844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1"/>
            <a:t>Відповідачем не надано суду жодних доказів направлення, вручення, оголошення тощо позивачу наказу № 121/ВД «Про припинення режиму простою».</a:t>
          </a:r>
        </a:p>
      </dsp:txBody>
      <dsp:txXfrm>
        <a:off x="2843255" y="3969541"/>
        <a:ext cx="17058400" cy="1844514"/>
      </dsp:txXfrm>
    </dsp:sp>
    <dsp:sp modelId="{9F402C8B-EC4C-464A-A233-3B007B6933B7}">
      <dsp:nvSpPr>
        <dsp:cNvPr id="0" name=""/>
        <dsp:cNvSpPr/>
      </dsp:nvSpPr>
      <dsp:spPr>
        <a:xfrm>
          <a:off x="2517298" y="5814056"/>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0E4798-DC49-416B-A46B-4EBC164447B9}">
      <dsp:nvSpPr>
        <dsp:cNvPr id="0" name=""/>
        <dsp:cNvSpPr/>
      </dsp:nvSpPr>
      <dsp:spPr>
        <a:xfrm>
          <a:off x="2843255" y="5906281"/>
          <a:ext cx="17058400" cy="1844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1"/>
            <a:t>Звільнили за прогул</a:t>
          </a:r>
        </a:p>
      </dsp:txBody>
      <dsp:txXfrm>
        <a:off x="2843255" y="5906281"/>
        <a:ext cx="17058400" cy="1844514"/>
      </dsp:txXfrm>
    </dsp:sp>
    <dsp:sp modelId="{0ED91751-EE00-49F4-9E49-97E96AD83DA8}">
      <dsp:nvSpPr>
        <dsp:cNvPr id="0" name=""/>
        <dsp:cNvSpPr/>
      </dsp:nvSpPr>
      <dsp:spPr>
        <a:xfrm>
          <a:off x="2517298" y="7750796"/>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2CA74-C898-4810-8215-DDD291D3907C}">
      <dsp:nvSpPr>
        <dsp:cNvPr id="0" name=""/>
        <dsp:cNvSpPr/>
      </dsp:nvSpPr>
      <dsp:spPr>
        <a:xfrm>
          <a:off x="0" y="817048"/>
          <a:ext cx="21929822" cy="296594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r>
            <a:rPr lang="uk-UA" sz="3600" b="0" i="0" kern="1200" noProof="0" dirty="0">
              <a:solidFill>
                <a:schemeClr val="tx1"/>
              </a:solidFill>
            </a:rPr>
            <a:t>Прогулом визнається відсутність працівника на роботі як протягом усього робочого дня, так і більше трьох годин безперервно або сумарно протягом робочого дня без поважних причин. </a:t>
          </a:r>
          <a:r>
            <a:rPr lang="uk-UA" sz="3600" b="0" i="0" kern="1200" noProof="0" dirty="0" err="1">
              <a:solidFill>
                <a:schemeClr val="tx1"/>
              </a:solidFill>
            </a:rPr>
            <a:t>Виначальним</a:t>
          </a:r>
          <a:r>
            <a:rPr lang="uk-UA" sz="3600" b="0" i="0" kern="1200" noProof="0" dirty="0">
              <a:solidFill>
                <a:schemeClr val="tx1"/>
              </a:solidFill>
            </a:rPr>
            <a:t> для вирішення питання законності звільнення з роботи за прогул є не тільки встановлення самого факту відсутності працівника на роботі більше трьох годин протягом робочого дня, а й встановлення поважності причин відсутності</a:t>
          </a:r>
          <a:endParaRPr lang="uk-UA" sz="3600" kern="1200" noProof="0" dirty="0">
            <a:solidFill>
              <a:schemeClr val="tx1"/>
            </a:solidFill>
          </a:endParaRPr>
        </a:p>
      </dsp:txBody>
      <dsp:txXfrm>
        <a:off x="144786" y="961834"/>
        <a:ext cx="21640250" cy="2676377"/>
      </dsp:txXfrm>
    </dsp:sp>
    <dsp:sp modelId="{F2663DDB-AF79-4774-94A4-303448794070}">
      <dsp:nvSpPr>
        <dsp:cNvPr id="0" name=""/>
        <dsp:cNvSpPr/>
      </dsp:nvSpPr>
      <dsp:spPr>
        <a:xfrm>
          <a:off x="0" y="3782998"/>
          <a:ext cx="21929822"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6272" tIns="45720" rIns="256032" bIns="45720" numCol="1" spcCol="1270" anchor="t" anchorCtr="0">
          <a:noAutofit/>
        </a:bodyPr>
        <a:lstStyle/>
        <a:p>
          <a:pPr marL="285750" lvl="1" indent="-285750" algn="l" defTabSz="1600200">
            <a:lnSpc>
              <a:spcPct val="90000"/>
            </a:lnSpc>
            <a:spcBef>
              <a:spcPct val="0"/>
            </a:spcBef>
            <a:spcAft>
              <a:spcPct val="20000"/>
            </a:spcAft>
            <a:buChar char="••"/>
          </a:pPr>
          <a:r>
            <a:rPr lang="uk-UA" sz="3600" b="0" i="0" kern="1200" noProof="0" dirty="0"/>
            <a:t>Саме з`ясування поважності відсутності позивача на роботі є визначальним фактом для вирішення питання про законність звільнення позивача з роботи за п. 4 ч. 1 ст. 40 КЗпП.</a:t>
          </a:r>
          <a:endParaRPr lang="uk-UA" sz="3600" kern="1200" noProof="0" dirty="0"/>
        </a:p>
      </dsp:txBody>
      <dsp:txXfrm>
        <a:off x="0" y="3782998"/>
        <a:ext cx="21929822" cy="1076400"/>
      </dsp:txXfrm>
    </dsp:sp>
    <dsp:sp modelId="{D69BF492-A030-4636-B7E7-C0086D7751C0}">
      <dsp:nvSpPr>
        <dsp:cNvPr id="0" name=""/>
        <dsp:cNvSpPr/>
      </dsp:nvSpPr>
      <dsp:spPr>
        <a:xfrm>
          <a:off x="0" y="4859398"/>
          <a:ext cx="21929822" cy="296594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r>
            <a:rPr lang="uk-UA" sz="3600" b="0" i="0" kern="1200" noProof="0" dirty="0">
              <a:solidFill>
                <a:schemeClr val="tx1"/>
              </a:solidFill>
            </a:rPr>
            <a:t>У трудових правовідносинах як працівник, так і роботодавець мають діяти добросовісно, не допускаючи дій, що вчиняються з наміром завдати шкоди іншій особі, а також зловживання правом в інших формах. Принцип добросовісності у трудовому праві характеризується прагненням суб`єктів належним чином, сумлінно здійснювати трудові права й виконувати обов`язки, передбачені трудовим законодавством та трудовим договором.</a:t>
          </a:r>
          <a:endParaRPr lang="uk-UA" sz="3600" b="1" kern="1200" noProof="0" dirty="0">
            <a:solidFill>
              <a:schemeClr val="tx1"/>
            </a:solidFill>
          </a:endParaRPr>
        </a:p>
      </dsp:txBody>
      <dsp:txXfrm>
        <a:off x="144786" y="5004184"/>
        <a:ext cx="21640250" cy="2676377"/>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62C84-9419-4108-8F83-43E4E180EB19}">
      <dsp:nvSpPr>
        <dsp:cNvPr id="0" name=""/>
        <dsp:cNvSpPr/>
      </dsp:nvSpPr>
      <dsp:spPr>
        <a:xfrm rot="5400000">
          <a:off x="997615" y="3111991"/>
          <a:ext cx="2985409" cy="4967654"/>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E99759-AF57-4683-B740-A753C1B8EA17}">
      <dsp:nvSpPr>
        <dsp:cNvPr id="0" name=""/>
        <dsp:cNvSpPr/>
      </dsp:nvSpPr>
      <dsp:spPr>
        <a:xfrm>
          <a:off x="499276" y="4596249"/>
          <a:ext cx="4484826" cy="3931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kern="1200" noProof="0" dirty="0"/>
            <a:t>Позов задовольнити</a:t>
          </a:r>
        </a:p>
      </dsp:txBody>
      <dsp:txXfrm>
        <a:off x="499276" y="4596249"/>
        <a:ext cx="4484826" cy="3931213"/>
      </dsp:txXfrm>
    </dsp:sp>
    <dsp:sp modelId="{3170F351-4ECA-4C62-8C1C-6DC424325CA9}">
      <dsp:nvSpPr>
        <dsp:cNvPr id="0" name=""/>
        <dsp:cNvSpPr/>
      </dsp:nvSpPr>
      <dsp:spPr>
        <a:xfrm>
          <a:off x="4137908" y="2746266"/>
          <a:ext cx="846193" cy="84619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4899ABB-372C-4850-B66A-257AF7B09E4D}">
      <dsp:nvSpPr>
        <dsp:cNvPr id="0" name=""/>
        <dsp:cNvSpPr/>
      </dsp:nvSpPr>
      <dsp:spPr>
        <a:xfrm rot="5400000">
          <a:off x="6487918" y="1753410"/>
          <a:ext cx="2985409" cy="4967654"/>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1FC2F4-DF6A-4C7E-8BF8-D05818EF8FE7}">
      <dsp:nvSpPr>
        <dsp:cNvPr id="0" name=""/>
        <dsp:cNvSpPr/>
      </dsp:nvSpPr>
      <dsp:spPr>
        <a:xfrm>
          <a:off x="5989579" y="3237668"/>
          <a:ext cx="4484826" cy="3931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b="0" i="0" kern="1200" noProof="0" dirty="0"/>
            <a:t>Наказ визнати незаконним та скасувати</a:t>
          </a:r>
          <a:endParaRPr lang="uk-UA" sz="3300" kern="1200" noProof="0" dirty="0"/>
        </a:p>
      </dsp:txBody>
      <dsp:txXfrm>
        <a:off x="5989579" y="3237668"/>
        <a:ext cx="4484826" cy="3931213"/>
      </dsp:txXfrm>
    </dsp:sp>
    <dsp:sp modelId="{D15437D2-EEDE-49CE-B4D3-D29CFC20E53A}">
      <dsp:nvSpPr>
        <dsp:cNvPr id="0" name=""/>
        <dsp:cNvSpPr/>
      </dsp:nvSpPr>
      <dsp:spPr>
        <a:xfrm>
          <a:off x="9628211" y="1387685"/>
          <a:ext cx="846193" cy="84619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23BDF3-E26B-43A6-94DB-25B7234777CA}">
      <dsp:nvSpPr>
        <dsp:cNvPr id="0" name=""/>
        <dsp:cNvSpPr/>
      </dsp:nvSpPr>
      <dsp:spPr>
        <a:xfrm rot="5400000">
          <a:off x="11978221" y="394829"/>
          <a:ext cx="2985409" cy="4967654"/>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261690-8A26-43DD-8A2A-B422A1D2C7A6}">
      <dsp:nvSpPr>
        <dsp:cNvPr id="0" name=""/>
        <dsp:cNvSpPr/>
      </dsp:nvSpPr>
      <dsp:spPr>
        <a:xfrm>
          <a:off x="11479882" y="1879087"/>
          <a:ext cx="4484826" cy="3931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kern="1200" noProof="0" dirty="0"/>
            <a:t>Поновити на роботі</a:t>
          </a:r>
        </a:p>
      </dsp:txBody>
      <dsp:txXfrm>
        <a:off x="11479882" y="1879087"/>
        <a:ext cx="4484826" cy="3931213"/>
      </dsp:txXfrm>
    </dsp:sp>
    <dsp:sp modelId="{1780EC40-763E-4BAE-B422-65D3DC80B727}">
      <dsp:nvSpPr>
        <dsp:cNvPr id="0" name=""/>
        <dsp:cNvSpPr/>
      </dsp:nvSpPr>
      <dsp:spPr>
        <a:xfrm>
          <a:off x="15118515" y="29104"/>
          <a:ext cx="846193" cy="84619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DFA3A6-2C6D-4EF8-9C53-B34880E45B3E}">
      <dsp:nvSpPr>
        <dsp:cNvPr id="0" name=""/>
        <dsp:cNvSpPr/>
      </dsp:nvSpPr>
      <dsp:spPr>
        <a:xfrm rot="5400000">
          <a:off x="17468525" y="-963751"/>
          <a:ext cx="2985409" cy="4967654"/>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6196B9-BB1C-47CA-82A7-4903DF1E1DF5}">
      <dsp:nvSpPr>
        <dsp:cNvPr id="0" name=""/>
        <dsp:cNvSpPr/>
      </dsp:nvSpPr>
      <dsp:spPr>
        <a:xfrm>
          <a:off x="16970186" y="520506"/>
          <a:ext cx="4484826" cy="3931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lvl="0" algn="l" defTabSz="1466850">
            <a:lnSpc>
              <a:spcPct val="90000"/>
            </a:lnSpc>
            <a:spcBef>
              <a:spcPct val="0"/>
            </a:spcBef>
            <a:spcAft>
              <a:spcPct val="35000"/>
            </a:spcAft>
          </a:pPr>
          <a:r>
            <a:rPr lang="uk-UA" sz="3300" kern="1200" noProof="1"/>
            <a:t>Стягнути </a:t>
          </a:r>
          <a:r>
            <a:rPr lang="uk-UA" sz="3300" b="0" i="0" kern="1200" noProof="1"/>
            <a:t>середній заробіток за час вимушеного прогулу за період з 29 березня 2022 року по 27 червня 2022 року у розмірі 192483</a:t>
          </a:r>
          <a:endParaRPr lang="uk-UA" sz="3300" kern="1200" noProof="1"/>
        </a:p>
        <a:p>
          <a:pPr lvl="0" algn="l" defTabSz="1466850">
            <a:lnSpc>
              <a:spcPct val="90000"/>
            </a:lnSpc>
            <a:spcBef>
              <a:spcPct val="0"/>
            </a:spcBef>
            <a:spcAft>
              <a:spcPct val="35000"/>
            </a:spcAft>
          </a:pPr>
          <a:endParaRPr lang="uk-UA" sz="3300" kern="1200" noProof="0" dirty="0"/>
        </a:p>
      </dsp:txBody>
      <dsp:txXfrm>
        <a:off x="16970186" y="520506"/>
        <a:ext cx="4484826" cy="3931213"/>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F985C4-2067-4047-BA7D-3E7421B6ADF5}">
      <dsp:nvSpPr>
        <dsp:cNvPr id="0" name=""/>
        <dsp:cNvSpPr/>
      </dsp:nvSpPr>
      <dsp:spPr>
        <a:xfrm>
          <a:off x="0" y="3834"/>
          <a:ext cx="21730447"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949010-F43F-4273-BF25-436505F95A4B}">
      <dsp:nvSpPr>
        <dsp:cNvPr id="0" name=""/>
        <dsp:cNvSpPr/>
      </dsp:nvSpPr>
      <dsp:spPr>
        <a:xfrm>
          <a:off x="0" y="3834"/>
          <a:ext cx="2517298" cy="7845412"/>
        </a:xfrm>
        <a:prstGeom prst="rect">
          <a:avLst/>
        </a:prstGeom>
        <a:solidFill>
          <a:schemeClr val="accent2">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vert270" wrap="square" lIns="163830" tIns="163830" rIns="163830" bIns="163830" numCol="1" spcCol="1270" anchor="t" anchorCtr="0">
          <a:noAutofit/>
        </a:bodyPr>
        <a:lstStyle/>
        <a:p>
          <a:pPr lvl="0" algn="ctr" defTabSz="1911350">
            <a:lnSpc>
              <a:spcPct val="90000"/>
            </a:lnSpc>
            <a:spcBef>
              <a:spcPct val="0"/>
            </a:spcBef>
            <a:spcAft>
              <a:spcPct val="35000"/>
            </a:spcAft>
          </a:pPr>
          <a:r>
            <a:rPr lang="uk-UA" sz="4300" kern="1200" noProof="1"/>
            <a:t>Справа про переведення</a:t>
          </a:r>
        </a:p>
        <a:p>
          <a:pPr lvl="0" algn="ctr" defTabSz="1911350">
            <a:lnSpc>
              <a:spcPct val="90000"/>
            </a:lnSpc>
            <a:spcBef>
              <a:spcPct val="0"/>
            </a:spcBef>
            <a:spcAft>
              <a:spcPct val="35000"/>
            </a:spcAft>
          </a:pPr>
          <a:r>
            <a:rPr lang="uk-UA" sz="4300" b="0" i="0" kern="1200" noProof="1"/>
            <a:t>(лікарня)</a:t>
          </a:r>
        </a:p>
        <a:p>
          <a:pPr lvl="0" algn="ctr" defTabSz="1911350">
            <a:lnSpc>
              <a:spcPct val="90000"/>
            </a:lnSpc>
            <a:spcBef>
              <a:spcPct val="0"/>
            </a:spcBef>
            <a:spcAft>
              <a:spcPct val="35000"/>
            </a:spcAft>
          </a:pPr>
          <a:r>
            <a:rPr lang="uk-UA" sz="4300" b="0" i="0" kern="1200" noProof="1"/>
            <a:t>Справа № 2/381/641/22</a:t>
          </a:r>
          <a:endParaRPr lang="uk-UA" sz="4300" kern="1200" noProof="1"/>
        </a:p>
      </dsp:txBody>
      <dsp:txXfrm>
        <a:off x="0" y="3834"/>
        <a:ext cx="2517298" cy="7845412"/>
      </dsp:txXfrm>
    </dsp:sp>
    <dsp:sp modelId="{84131AAB-2705-453B-9466-179E67A33C0A}">
      <dsp:nvSpPr>
        <dsp:cNvPr id="0" name=""/>
        <dsp:cNvSpPr/>
      </dsp:nvSpPr>
      <dsp:spPr>
        <a:xfrm>
          <a:off x="2843255" y="96060"/>
          <a:ext cx="17058400" cy="1844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rtl="0">
            <a:lnSpc>
              <a:spcPct val="90000"/>
            </a:lnSpc>
            <a:spcBef>
              <a:spcPct val="0"/>
            </a:spcBef>
            <a:spcAft>
              <a:spcPct val="35000"/>
            </a:spcAft>
          </a:pPr>
          <a:r>
            <a:rPr lang="uk-UA" sz="3200" b="0" i="0" kern="1200" noProof="1"/>
            <a:t>з 21.10.2020 позивач працювала на посаді молодшої медичної сестри палатної в першому відділенні КНП КОР «ОПНМО», але 14.04.2022 їй було надано на ознайомлення копію витягу з наказу про переведення на посаду молодшої сестри з догляду за хворими.</a:t>
          </a:r>
          <a:endParaRPr lang="uk-UA" sz="3200" kern="1200" noProof="1"/>
        </a:p>
      </dsp:txBody>
      <dsp:txXfrm>
        <a:off x="2843255" y="96060"/>
        <a:ext cx="17058400" cy="1844514"/>
      </dsp:txXfrm>
    </dsp:sp>
    <dsp:sp modelId="{81DB2667-891F-46F6-87CB-9D0638423E56}">
      <dsp:nvSpPr>
        <dsp:cNvPr id="0" name=""/>
        <dsp:cNvSpPr/>
      </dsp:nvSpPr>
      <dsp:spPr>
        <a:xfrm>
          <a:off x="2517298" y="1940575"/>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07DF82-DC38-4B52-A931-DAA4389F017B}">
      <dsp:nvSpPr>
        <dsp:cNvPr id="0" name=""/>
        <dsp:cNvSpPr/>
      </dsp:nvSpPr>
      <dsp:spPr>
        <a:xfrm>
          <a:off x="2843255" y="2032800"/>
          <a:ext cx="17058400" cy="1844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1"/>
            <a:t>Завчасного повідомдення не було. Згоди вона не давала</a:t>
          </a:r>
        </a:p>
      </dsp:txBody>
      <dsp:txXfrm>
        <a:off x="2843255" y="2032800"/>
        <a:ext cx="17058400" cy="1844514"/>
      </dsp:txXfrm>
    </dsp:sp>
    <dsp:sp modelId="{6B27170D-1061-408B-8B34-5CBCA78B88AB}">
      <dsp:nvSpPr>
        <dsp:cNvPr id="0" name=""/>
        <dsp:cNvSpPr/>
      </dsp:nvSpPr>
      <dsp:spPr>
        <a:xfrm>
          <a:off x="2517298" y="3877315"/>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B469E29-8BDC-4B1D-B3D2-557483EA1DA7}">
      <dsp:nvSpPr>
        <dsp:cNvPr id="0" name=""/>
        <dsp:cNvSpPr/>
      </dsp:nvSpPr>
      <dsp:spPr>
        <a:xfrm>
          <a:off x="2843255" y="3969541"/>
          <a:ext cx="17058400" cy="1844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1"/>
            <a:t>Як вбачається з акту, підписаного інспектором відділу кадрів та ще двома представниками, 13.04.2022 була здійснена телефонограма ОСОБА_1 про ознайомлення її з наказом № 195-п від 13.04.2022 та про її вихід на робочу місце 14.04.2022.</a:t>
          </a:r>
        </a:p>
      </dsp:txBody>
      <dsp:txXfrm>
        <a:off x="2843255" y="3969541"/>
        <a:ext cx="17058400" cy="1844514"/>
      </dsp:txXfrm>
    </dsp:sp>
    <dsp:sp modelId="{9F402C8B-EC4C-464A-A233-3B007B6933B7}">
      <dsp:nvSpPr>
        <dsp:cNvPr id="0" name=""/>
        <dsp:cNvSpPr/>
      </dsp:nvSpPr>
      <dsp:spPr>
        <a:xfrm>
          <a:off x="2517298" y="5814056"/>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0E4798-DC49-416B-A46B-4EBC164447B9}">
      <dsp:nvSpPr>
        <dsp:cNvPr id="0" name=""/>
        <dsp:cNvSpPr/>
      </dsp:nvSpPr>
      <dsp:spPr>
        <a:xfrm>
          <a:off x="2843255" y="5906281"/>
          <a:ext cx="17058400" cy="1844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uk-UA" sz="3200" b="0" i="0" kern="1200" noProof="1"/>
            <a:t>Обгрунтування наказу - забезпечення нормальних життєвих умов пацієнтів в період воєнного стану</a:t>
          </a:r>
        </a:p>
      </dsp:txBody>
      <dsp:txXfrm>
        <a:off x="2843255" y="5906281"/>
        <a:ext cx="17058400" cy="1844514"/>
      </dsp:txXfrm>
    </dsp:sp>
    <dsp:sp modelId="{0ED91751-EE00-49F4-9E49-97E96AD83DA8}">
      <dsp:nvSpPr>
        <dsp:cNvPr id="0" name=""/>
        <dsp:cNvSpPr/>
      </dsp:nvSpPr>
      <dsp:spPr>
        <a:xfrm>
          <a:off x="2517298" y="7750796"/>
          <a:ext cx="1738435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2CA74-C898-4810-8215-DDD291D3907C}">
      <dsp:nvSpPr>
        <dsp:cNvPr id="0" name=""/>
        <dsp:cNvSpPr/>
      </dsp:nvSpPr>
      <dsp:spPr>
        <a:xfrm>
          <a:off x="0" y="224642"/>
          <a:ext cx="23075153" cy="30860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uk-UA" sz="3200" b="0" i="0" kern="1200" noProof="0" dirty="0">
              <a:solidFill>
                <a:schemeClr val="tx1"/>
              </a:solidFill>
            </a:rPr>
            <a:t>Переведення на іншу роботу на тому ж підприємстві, в установі, організації, а також переведення на роботу на інше підприємство, в установу, організацію або в іншу місцевість, хоча б разом з підприємством, установою, організацією, допускається тільки за згодою працівника, за винятком випадків, передбачених у статті 33 цього Кодексу та в інших випадках, передбачених законодавством(ст. 32 КЗпП)</a:t>
          </a:r>
          <a:endParaRPr lang="uk-UA" sz="3200" kern="1200" noProof="0" dirty="0">
            <a:solidFill>
              <a:schemeClr val="tx1"/>
            </a:solidFill>
          </a:endParaRPr>
        </a:p>
      </dsp:txBody>
      <dsp:txXfrm>
        <a:off x="150648" y="375290"/>
        <a:ext cx="22773857" cy="2784744"/>
      </dsp:txXfrm>
    </dsp:sp>
    <dsp:sp modelId="{F2663DDB-AF79-4774-94A4-303448794070}">
      <dsp:nvSpPr>
        <dsp:cNvPr id="0" name=""/>
        <dsp:cNvSpPr/>
      </dsp:nvSpPr>
      <dsp:spPr>
        <a:xfrm>
          <a:off x="0" y="3310683"/>
          <a:ext cx="23075153" cy="1782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36" tIns="40640" rIns="227584" bIns="40640" numCol="1" spcCol="1270" anchor="t" anchorCtr="0">
          <a:noAutofit/>
        </a:bodyPr>
        <a:lstStyle/>
        <a:p>
          <a:pPr marL="285750" lvl="1" indent="-285750" algn="l" defTabSz="1422400">
            <a:lnSpc>
              <a:spcPct val="90000"/>
            </a:lnSpc>
            <a:spcBef>
              <a:spcPct val="0"/>
            </a:spcBef>
            <a:spcAft>
              <a:spcPct val="20000"/>
            </a:spcAft>
            <a:buChar char="••"/>
          </a:pPr>
          <a:r>
            <a:rPr lang="uk-UA" sz="3200" b="0" i="0" kern="1200" noProof="0" dirty="0"/>
            <a:t>Не вважається переведенням на іншу роботу і не потребує згоди працівника переміщення його на тому ж підприємстві, в установі, організації на інше робоче місце, в інший структурний підрозділ у тій же місцевості, доручення роботи на іншому механізмі або агрегаті у межах спеціальності, кваліфікації чи посади, обумовленої трудовим договором. </a:t>
          </a:r>
          <a:endParaRPr lang="uk-UA" sz="3200" kern="1200" noProof="0" dirty="0"/>
        </a:p>
      </dsp:txBody>
      <dsp:txXfrm>
        <a:off x="0" y="3310683"/>
        <a:ext cx="23075153" cy="1782787"/>
      </dsp:txXfrm>
    </dsp:sp>
    <dsp:sp modelId="{E3960523-7B3D-4AD3-909A-C5A73CE3C4CC}">
      <dsp:nvSpPr>
        <dsp:cNvPr id="0" name=""/>
        <dsp:cNvSpPr/>
      </dsp:nvSpPr>
      <dsp:spPr>
        <a:xfrm>
          <a:off x="0" y="5093470"/>
          <a:ext cx="23075153" cy="30860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uk-UA" sz="3200" b="0" i="0" kern="1200" noProof="0" dirty="0">
              <a:solidFill>
                <a:schemeClr val="tx1"/>
              </a:solidFill>
            </a:rPr>
            <a:t>У період дії воєнного стану роботодавець має право перевести працівника на іншу роботу, не обумовлену трудовим договором, без його згоди (крім переведення на роботу в іншу місцевість, на території якої тривають активні бойові дії), якщо така робота не протипоказана працівникові за станом здоров`я, лише для відвернення або ліквідації наслідків бойових дій, а також інших обставин, що ставлять або можуть становити загрозу життю чи нормальним життєвим умовам людей, з оплатою праці за виконану роботу не нижче середньої заробітної плати за попередньою роботою (ст. 3 ЗУ «Про організацію трудових відносин в умовах воєнного стану»)</a:t>
          </a:r>
        </a:p>
      </dsp:txBody>
      <dsp:txXfrm>
        <a:off x="150648" y="5244118"/>
        <a:ext cx="22773857" cy="2784744"/>
      </dsp:txXfrm>
    </dsp:sp>
    <dsp:sp modelId="{16BCC1E7-5607-4CCD-8FC3-347257E7EFEF}">
      <dsp:nvSpPr>
        <dsp:cNvPr id="0" name=""/>
        <dsp:cNvSpPr/>
      </dsp:nvSpPr>
      <dsp:spPr>
        <a:xfrm>
          <a:off x="0" y="8179511"/>
          <a:ext cx="23075153"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36" tIns="40640" rIns="227584" bIns="40640" numCol="1" spcCol="1270" anchor="t" anchorCtr="0">
          <a:noAutofit/>
        </a:bodyPr>
        <a:lstStyle/>
        <a:p>
          <a:pPr marL="285750" lvl="1" indent="-285750" algn="l" defTabSz="1422400">
            <a:lnSpc>
              <a:spcPct val="90000"/>
            </a:lnSpc>
            <a:spcBef>
              <a:spcPct val="0"/>
            </a:spcBef>
            <a:spcAft>
              <a:spcPct val="20000"/>
            </a:spcAft>
            <a:buChar char="••"/>
          </a:pPr>
          <a:r>
            <a:rPr lang="uk-UA" sz="3200" b="0" i="0" kern="1200" noProof="0" dirty="0"/>
            <a:t>У період дії воєнного стану норми ч. 3 ст. 32 КЗпП та інших законів щодо повідомлення працівника про зміну істотних умов праці </a:t>
          </a:r>
          <a:r>
            <a:rPr lang="uk-UA" sz="3200" b="0" i="0" u="none" kern="1200" noProof="0" dirty="0"/>
            <a:t>не застосовуються</a:t>
          </a:r>
          <a:r>
            <a:rPr lang="uk-UA" sz="3200" b="0" i="0" kern="1200" noProof="0" dirty="0"/>
            <a:t>.</a:t>
          </a:r>
          <a:endParaRPr lang="uk-UA" sz="3200" kern="1200" noProof="0" dirty="0"/>
        </a:p>
      </dsp:txBody>
      <dsp:txXfrm>
        <a:off x="0" y="8179511"/>
        <a:ext cx="23075153" cy="1076400"/>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62C84-9419-4108-8F83-43E4E180EB19}">
      <dsp:nvSpPr>
        <dsp:cNvPr id="0" name=""/>
        <dsp:cNvSpPr/>
      </dsp:nvSpPr>
      <dsp:spPr>
        <a:xfrm rot="5400000">
          <a:off x="8514528" y="-462722"/>
          <a:ext cx="4417715" cy="7350979"/>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E99759-AF57-4683-B740-A753C1B8EA17}">
      <dsp:nvSpPr>
        <dsp:cNvPr id="0" name=""/>
        <dsp:cNvSpPr/>
      </dsp:nvSpPr>
      <dsp:spPr>
        <a:xfrm>
          <a:off x="7777102" y="1733636"/>
          <a:ext cx="6636505" cy="5817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lvl="0" algn="l" defTabSz="2889250">
            <a:lnSpc>
              <a:spcPct val="90000"/>
            </a:lnSpc>
            <a:spcBef>
              <a:spcPct val="0"/>
            </a:spcBef>
            <a:spcAft>
              <a:spcPct val="35000"/>
            </a:spcAft>
          </a:pPr>
          <a:r>
            <a:rPr lang="uk-UA" sz="6500" kern="1200" noProof="0" dirty="0"/>
            <a:t>Позов залишити без задоволення</a:t>
          </a:r>
        </a:p>
      </dsp:txBody>
      <dsp:txXfrm>
        <a:off x="7777102" y="1733636"/>
        <a:ext cx="6636505" cy="581728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816481-8F4C-4749-81C1-5E6BA3E5A48B}">
      <dsp:nvSpPr>
        <dsp:cNvPr id="0" name=""/>
        <dsp:cNvSpPr/>
      </dsp:nvSpPr>
      <dsp:spPr>
        <a:xfrm>
          <a:off x="0" y="3388"/>
          <a:ext cx="22172481"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1AC98D-C0DC-4C3C-97F3-30E4A99148BE}">
      <dsp:nvSpPr>
        <dsp:cNvPr id="0" name=""/>
        <dsp:cNvSpPr/>
      </dsp:nvSpPr>
      <dsp:spPr>
        <a:xfrm>
          <a:off x="0" y="3388"/>
          <a:ext cx="22172481" cy="23106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lvl="0" algn="l" defTabSz="1689100">
            <a:lnSpc>
              <a:spcPct val="90000"/>
            </a:lnSpc>
            <a:spcBef>
              <a:spcPct val="0"/>
            </a:spcBef>
            <a:spcAft>
              <a:spcPct val="35000"/>
            </a:spcAft>
          </a:pPr>
          <a:r>
            <a:rPr lang="uk-UA" sz="3800" b="0" i="0" kern="1200" noProof="0" dirty="0"/>
            <a:t>Заробітна плата виплачується працівникові за фактично відпрацьований час. За відрядної системи заробітна плата виплачується за фактично виконану роботу за встановленими у трудовому договорі з нефіксованим робочим часом відрядними розцінками.</a:t>
          </a:r>
          <a:endParaRPr lang="uk-UA" sz="3800" kern="1200" noProof="0" dirty="0"/>
        </a:p>
      </dsp:txBody>
      <dsp:txXfrm>
        <a:off x="0" y="3388"/>
        <a:ext cx="22172481" cy="2310634"/>
      </dsp:txXfrm>
    </dsp:sp>
    <dsp:sp modelId="{F4E2A415-E3B6-4A8D-87B1-B1311FD21720}">
      <dsp:nvSpPr>
        <dsp:cNvPr id="0" name=""/>
        <dsp:cNvSpPr/>
      </dsp:nvSpPr>
      <dsp:spPr>
        <a:xfrm>
          <a:off x="0" y="2314023"/>
          <a:ext cx="22172481"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35038C2-CBDA-43AF-80F2-1706F5B1F6C4}">
      <dsp:nvSpPr>
        <dsp:cNvPr id="0" name=""/>
        <dsp:cNvSpPr/>
      </dsp:nvSpPr>
      <dsp:spPr>
        <a:xfrm>
          <a:off x="0" y="2314023"/>
          <a:ext cx="22172481" cy="23106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lvl="0" algn="l" defTabSz="1689100">
            <a:lnSpc>
              <a:spcPct val="90000"/>
            </a:lnSpc>
            <a:spcBef>
              <a:spcPct val="0"/>
            </a:spcBef>
            <a:spcAft>
              <a:spcPct val="35000"/>
            </a:spcAft>
          </a:pPr>
          <a:r>
            <a:rPr lang="uk-UA" sz="3800" b="0" i="0" kern="1200" noProof="0" dirty="0"/>
            <a:t>Мінімальна тривалість робочого часу за трудовим договором з нефіксованим робочим часом, протягом календарного місяця становить 32 години. Якщо працівник протягом місяця виконував роботу менше 32 годин, йому повинна бути виплачена заробітна плата не менше ніж за 32 години робочого часу.</a:t>
          </a:r>
        </a:p>
      </dsp:txBody>
      <dsp:txXfrm>
        <a:off x="0" y="2314023"/>
        <a:ext cx="22172481" cy="2310634"/>
      </dsp:txXfrm>
    </dsp:sp>
    <dsp:sp modelId="{0AF4CCE7-805C-4D52-BEB5-EF347990F08F}">
      <dsp:nvSpPr>
        <dsp:cNvPr id="0" name=""/>
        <dsp:cNvSpPr/>
      </dsp:nvSpPr>
      <dsp:spPr>
        <a:xfrm>
          <a:off x="0" y="4624657"/>
          <a:ext cx="22172481"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690AD46-6222-472E-AE6D-5120F7631E55}">
      <dsp:nvSpPr>
        <dsp:cNvPr id="0" name=""/>
        <dsp:cNvSpPr/>
      </dsp:nvSpPr>
      <dsp:spPr>
        <a:xfrm>
          <a:off x="0" y="4624657"/>
          <a:ext cx="22172481" cy="23106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lvl="0" algn="l" defTabSz="1689100">
            <a:lnSpc>
              <a:spcPct val="90000"/>
            </a:lnSpc>
            <a:spcBef>
              <a:spcPct val="0"/>
            </a:spcBef>
            <a:spcAft>
              <a:spcPct val="35000"/>
            </a:spcAft>
          </a:pPr>
          <a:r>
            <a:rPr lang="uk-UA" sz="3800" b="0" i="0" kern="1200" noProof="0" dirty="0"/>
            <a:t>У разі ненадання роботодавцем роботи працівникові, заробітна плата за відрядної системи оплати праці протягом місяця повинна бути виплачена у розмірі, не меншому за розмір зарплати працівника відповідної кваліфікації, за погодинною системою, – за 32 години робочого часу.</a:t>
          </a:r>
        </a:p>
      </dsp:txBody>
      <dsp:txXfrm>
        <a:off x="0" y="4624657"/>
        <a:ext cx="22172481" cy="231063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1D0633-22A5-490D-9A43-9C18C48CDD52}">
      <dsp:nvSpPr>
        <dsp:cNvPr id="0" name=""/>
        <dsp:cNvSpPr/>
      </dsp:nvSpPr>
      <dsp:spPr>
        <a:xfrm>
          <a:off x="0" y="0"/>
          <a:ext cx="20905692" cy="4452296"/>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8488" tIns="199136" rIns="348488" bIns="199136" numCol="1" spcCol="1270" anchor="ctr" anchorCtr="0">
          <a:noAutofit/>
        </a:bodyPr>
        <a:lstStyle/>
        <a:p>
          <a:pPr lvl="0" algn="ctr" defTabSz="2178050">
            <a:lnSpc>
              <a:spcPct val="90000"/>
            </a:lnSpc>
            <a:spcBef>
              <a:spcPct val="0"/>
            </a:spcBef>
            <a:spcAft>
              <a:spcPct val="35000"/>
            </a:spcAft>
          </a:pPr>
          <a:r>
            <a:rPr lang="uk-UA" sz="4900" b="0" i="0" kern="1200" noProof="0" dirty="0">
              <a:solidFill>
                <a:schemeClr val="tx1"/>
              </a:solidFill>
            </a:rPr>
            <a:t>Гнучкий режим робочого часу - це форма організації праці, за якою допускається встановлення іншого режиму роботи, ніж визначений правилами внутрішнього трудового розпорядку, за умови дотримання встановленої денної, тижневої чи іншої, встановленої на певний обліковий період (тиждень, місяць, квартал, рік тощо), норми тривалості робочого часу.</a:t>
          </a:r>
          <a:endParaRPr lang="uk-UA" sz="4900" kern="1200" noProof="0" dirty="0">
            <a:solidFill>
              <a:schemeClr val="tx1"/>
            </a:solidFill>
          </a:endParaRPr>
        </a:p>
      </dsp:txBody>
      <dsp:txXfrm>
        <a:off x="0" y="0"/>
        <a:ext cx="20905692" cy="4452296"/>
      </dsp:txXfrm>
    </dsp:sp>
    <dsp:sp modelId="{059DAF36-FAA5-451D-8428-5A373FF99DC5}">
      <dsp:nvSpPr>
        <dsp:cNvPr id="0" name=""/>
        <dsp:cNvSpPr/>
      </dsp:nvSpPr>
      <dsp:spPr>
        <a:xfrm>
          <a:off x="0" y="4363602"/>
          <a:ext cx="20905692" cy="21520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1366" tIns="261366" rIns="348488" bIns="392049" numCol="1" spcCol="1270" anchor="t" anchorCtr="0">
          <a:noAutofit/>
        </a:bodyPr>
        <a:lstStyle/>
        <a:p>
          <a:pPr marL="285750" lvl="1" indent="-285750" algn="ctr" defTabSz="2178050">
            <a:lnSpc>
              <a:spcPct val="90000"/>
            </a:lnSpc>
            <a:spcBef>
              <a:spcPct val="0"/>
            </a:spcBef>
            <a:spcAft>
              <a:spcPct val="15000"/>
            </a:spcAft>
            <a:buChar char="••"/>
          </a:pPr>
          <a:r>
            <a:rPr lang="uk-UA" sz="4900" kern="1200" noProof="0" dirty="0"/>
            <a:t>Ст. 60 КЗпП</a:t>
          </a:r>
        </a:p>
      </dsp:txBody>
      <dsp:txXfrm>
        <a:off x="0" y="4363602"/>
        <a:ext cx="20905692" cy="215208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1D0633-22A5-490D-9A43-9C18C48CDD52}">
      <dsp:nvSpPr>
        <dsp:cNvPr id="0" name=""/>
        <dsp:cNvSpPr/>
      </dsp:nvSpPr>
      <dsp:spPr>
        <a:xfrm>
          <a:off x="6740" y="3488456"/>
          <a:ext cx="6571829" cy="3562005"/>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uk-UA" sz="2700" b="0" i="0" kern="1200" noProof="0" dirty="0">
              <a:solidFill>
                <a:schemeClr val="tx1"/>
              </a:solidFill>
            </a:rPr>
            <a:t>Саморегулювання працівником часу початку, закінчення роботи та тривалості робочого часу упродовж робочого дня, на визначений строк або безстроково</a:t>
          </a:r>
          <a:endParaRPr lang="uk-UA" sz="2700" kern="1200" noProof="0" dirty="0">
            <a:solidFill>
              <a:schemeClr val="tx1"/>
            </a:solidFill>
          </a:endParaRPr>
        </a:p>
      </dsp:txBody>
      <dsp:txXfrm>
        <a:off x="6740" y="3488456"/>
        <a:ext cx="6571829" cy="3562005"/>
      </dsp:txXfrm>
    </dsp:sp>
    <dsp:sp modelId="{059DAF36-FAA5-451D-8428-5A373FF99DC5}">
      <dsp:nvSpPr>
        <dsp:cNvPr id="0" name=""/>
        <dsp:cNvSpPr/>
      </dsp:nvSpPr>
      <dsp:spPr>
        <a:xfrm>
          <a:off x="6740" y="6448244"/>
          <a:ext cx="6571829" cy="118584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AA7C6FA-7B55-46C5-A71D-12306FF1F3A4}">
      <dsp:nvSpPr>
        <dsp:cNvPr id="0" name=""/>
        <dsp:cNvSpPr/>
      </dsp:nvSpPr>
      <dsp:spPr>
        <a:xfrm>
          <a:off x="7498625" y="3593863"/>
          <a:ext cx="6571829" cy="3140377"/>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uk-UA" sz="2700" b="0" i="0" kern="1200" noProof="0" dirty="0">
              <a:solidFill>
                <a:schemeClr val="tx1"/>
              </a:solidFill>
            </a:rPr>
            <a:t>За письмовим погодженням між працівником і роботодавцем</a:t>
          </a:r>
          <a:endParaRPr lang="uk-UA" sz="2700" kern="1200" noProof="0" dirty="0">
            <a:solidFill>
              <a:schemeClr val="tx1"/>
            </a:solidFill>
          </a:endParaRPr>
        </a:p>
      </dsp:txBody>
      <dsp:txXfrm>
        <a:off x="7498625" y="3593863"/>
        <a:ext cx="6571829" cy="3140377"/>
      </dsp:txXfrm>
    </dsp:sp>
    <dsp:sp modelId="{6ACF5CFA-F0D0-4196-AB14-D2CB369C46EC}">
      <dsp:nvSpPr>
        <dsp:cNvPr id="0" name=""/>
        <dsp:cNvSpPr/>
      </dsp:nvSpPr>
      <dsp:spPr>
        <a:xfrm>
          <a:off x="7498625" y="6342837"/>
          <a:ext cx="6571829" cy="118584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1D85BCF-670F-43B4-B168-457EC0B2D183}">
      <dsp:nvSpPr>
        <dsp:cNvPr id="0" name=""/>
        <dsp:cNvSpPr/>
      </dsp:nvSpPr>
      <dsp:spPr>
        <a:xfrm>
          <a:off x="14990511" y="3634402"/>
          <a:ext cx="6571829" cy="297822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uk-UA" sz="2700" b="0" i="0" kern="1200" noProof="0" dirty="0">
              <a:solidFill>
                <a:schemeClr val="tx1"/>
              </a:solidFill>
            </a:rPr>
            <a:t>Зараз може встановлюватися наказом (розпорядженням) роботодавця. З ним працівник ознайомлюється протягом двох днів з дня його прийняття, але до запровадження гнучкого режиму робочого часу</a:t>
          </a:r>
          <a:endParaRPr lang="uk-UA" sz="2700" kern="1200" noProof="0" dirty="0">
            <a:solidFill>
              <a:schemeClr val="tx1"/>
            </a:solidFill>
          </a:endParaRPr>
        </a:p>
      </dsp:txBody>
      <dsp:txXfrm>
        <a:off x="14990511" y="3634402"/>
        <a:ext cx="6571829" cy="2978223"/>
      </dsp:txXfrm>
    </dsp:sp>
    <dsp:sp modelId="{22FE341C-4338-45AE-B69F-240E20B5C692}">
      <dsp:nvSpPr>
        <dsp:cNvPr id="0" name=""/>
        <dsp:cNvSpPr/>
      </dsp:nvSpPr>
      <dsp:spPr>
        <a:xfrm>
          <a:off x="14990511" y="6302298"/>
          <a:ext cx="6571829" cy="118584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1D0633-22A5-490D-9A43-9C18C48CDD52}">
      <dsp:nvSpPr>
        <dsp:cNvPr id="0" name=""/>
        <dsp:cNvSpPr/>
      </dsp:nvSpPr>
      <dsp:spPr>
        <a:xfrm>
          <a:off x="6740" y="3403524"/>
          <a:ext cx="6571829" cy="3713574"/>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uk-UA" sz="2800" b="0" i="0" kern="1200" noProof="0" dirty="0">
              <a:solidFill>
                <a:schemeClr val="tx1"/>
              </a:solidFill>
            </a:rPr>
            <a:t>Фіксований час, протягом якого працівник обов’язково повинен бути присутнім на робочому місці та виконувати свої посадові обов’язки. При цьому може передбачатися поділ робочого дня на частини;</a:t>
          </a:r>
          <a:endParaRPr lang="uk-UA" sz="2800" kern="1200" noProof="0" dirty="0">
            <a:solidFill>
              <a:schemeClr val="tx1"/>
            </a:solidFill>
          </a:endParaRPr>
        </a:p>
      </dsp:txBody>
      <dsp:txXfrm>
        <a:off x="6740" y="3403524"/>
        <a:ext cx="6571829" cy="3713574"/>
      </dsp:txXfrm>
    </dsp:sp>
    <dsp:sp modelId="{059DAF36-FAA5-451D-8428-5A373FF99DC5}">
      <dsp:nvSpPr>
        <dsp:cNvPr id="0" name=""/>
        <dsp:cNvSpPr/>
      </dsp:nvSpPr>
      <dsp:spPr>
        <a:xfrm>
          <a:off x="6740" y="6489256"/>
          <a:ext cx="6571829" cy="122975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207B239-E3DA-4412-BB65-23A1F91581C1}">
      <dsp:nvSpPr>
        <dsp:cNvPr id="0" name=""/>
        <dsp:cNvSpPr/>
      </dsp:nvSpPr>
      <dsp:spPr>
        <a:xfrm>
          <a:off x="7498625" y="3717446"/>
          <a:ext cx="6571829" cy="245788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uk-UA" sz="2800" b="0" i="0" kern="1200" noProof="0" dirty="0">
              <a:solidFill>
                <a:schemeClr val="tx1"/>
              </a:solidFill>
            </a:rPr>
            <a:t>Змінний час, протягом якого працівник на власний розсуд визначає періоди роботи в межах встановленої норми тривалості робочого часу;</a:t>
          </a:r>
        </a:p>
      </dsp:txBody>
      <dsp:txXfrm>
        <a:off x="7498625" y="3717446"/>
        <a:ext cx="6571829" cy="2457888"/>
      </dsp:txXfrm>
    </dsp:sp>
    <dsp:sp modelId="{CB55DBB9-ADE3-40C1-BA75-36DCC70E7581}">
      <dsp:nvSpPr>
        <dsp:cNvPr id="0" name=""/>
        <dsp:cNvSpPr/>
      </dsp:nvSpPr>
      <dsp:spPr>
        <a:xfrm>
          <a:off x="7498625" y="6175334"/>
          <a:ext cx="6571829" cy="122975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C8FFE5-305D-4F44-BFDA-08AC2F228E9E}">
      <dsp:nvSpPr>
        <dsp:cNvPr id="0" name=""/>
        <dsp:cNvSpPr/>
      </dsp:nvSpPr>
      <dsp:spPr>
        <a:xfrm>
          <a:off x="14990511" y="3717446"/>
          <a:ext cx="6571829" cy="245788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uk-UA" sz="2800" b="0" i="0" kern="1200" noProof="0" dirty="0">
              <a:solidFill>
                <a:schemeClr val="tx1"/>
              </a:solidFill>
            </a:rPr>
            <a:t>Час перерви для відпочинку і харчування.</a:t>
          </a:r>
        </a:p>
      </dsp:txBody>
      <dsp:txXfrm>
        <a:off x="14990511" y="3717446"/>
        <a:ext cx="6571829" cy="2457888"/>
      </dsp:txXfrm>
    </dsp:sp>
    <dsp:sp modelId="{CAD1A1DF-7E97-46DA-88A5-BB2B93EFEC7C}">
      <dsp:nvSpPr>
        <dsp:cNvPr id="0" name=""/>
        <dsp:cNvSpPr/>
      </dsp:nvSpPr>
      <dsp:spPr>
        <a:xfrm>
          <a:off x="14990511" y="6175334"/>
          <a:ext cx="6571829" cy="122975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0595D-A015-4723-9EF3-F1F7DFF9DA95}">
      <dsp:nvSpPr>
        <dsp:cNvPr id="0" name=""/>
        <dsp:cNvSpPr/>
      </dsp:nvSpPr>
      <dsp:spPr>
        <a:xfrm>
          <a:off x="0" y="228932"/>
          <a:ext cx="20887765" cy="29858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a:lnSpc>
              <a:spcPct val="90000"/>
            </a:lnSpc>
            <a:spcBef>
              <a:spcPct val="0"/>
            </a:spcBef>
            <a:spcAft>
              <a:spcPct val="35000"/>
            </a:spcAft>
          </a:pPr>
          <a:r>
            <a:rPr lang="uk-UA" sz="4400" b="0" i="0" kern="1200" noProof="0" dirty="0">
              <a:solidFill>
                <a:schemeClr val="tx1"/>
              </a:solidFill>
            </a:rPr>
            <a:t>У процесі передачі об’єктів комунальної власності відбувається саме зміна власника відповідної організації/підприємства, а отже – жодних змін у здійсненні трудових прав працівників цієї організації/підприємства на момент передачі не відбувається.</a:t>
          </a:r>
          <a:endParaRPr lang="uk-UA" sz="4400" kern="1200" noProof="0" dirty="0">
            <a:solidFill>
              <a:schemeClr val="tx1"/>
            </a:solidFill>
          </a:endParaRPr>
        </a:p>
      </dsp:txBody>
      <dsp:txXfrm>
        <a:off x="145757" y="374689"/>
        <a:ext cx="20596251" cy="2694326"/>
      </dsp:txXfrm>
    </dsp:sp>
    <dsp:sp modelId="{CF396298-DCC0-4F80-A72F-24A11523A737}">
      <dsp:nvSpPr>
        <dsp:cNvPr id="0" name=""/>
        <dsp:cNvSpPr/>
      </dsp:nvSpPr>
      <dsp:spPr>
        <a:xfrm>
          <a:off x="0" y="3214773"/>
          <a:ext cx="20887765" cy="1275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63187" tIns="55880" rIns="312928" bIns="55880" numCol="1" spcCol="1270" anchor="t" anchorCtr="0">
          <a:noAutofit/>
        </a:bodyPr>
        <a:lstStyle/>
        <a:p>
          <a:pPr marL="285750" lvl="1" indent="-285750" algn="l" defTabSz="1955800">
            <a:lnSpc>
              <a:spcPct val="90000"/>
            </a:lnSpc>
            <a:spcBef>
              <a:spcPct val="0"/>
            </a:spcBef>
            <a:spcAft>
              <a:spcPct val="20000"/>
            </a:spcAft>
            <a:buChar char="••"/>
          </a:pPr>
          <a:r>
            <a:rPr lang="uk-UA" sz="4400" b="0" i="0" kern="1200" noProof="0" dirty="0"/>
            <a:t>Зміна підпорядкованості підприємства, установи, організації не припиняє дії трудового договору (ст. 36 КЗпП).</a:t>
          </a:r>
          <a:endParaRPr lang="uk-UA" sz="4400" kern="1200" noProof="0" dirty="0"/>
        </a:p>
      </dsp:txBody>
      <dsp:txXfrm>
        <a:off x="0" y="3214773"/>
        <a:ext cx="20887765" cy="1275120"/>
      </dsp:txXfrm>
    </dsp:sp>
    <dsp:sp modelId="{CFB7FB7C-7E4B-4780-BFC6-D8BECAEE0A30}">
      <dsp:nvSpPr>
        <dsp:cNvPr id="0" name=""/>
        <dsp:cNvSpPr/>
      </dsp:nvSpPr>
      <dsp:spPr>
        <a:xfrm>
          <a:off x="0" y="4489893"/>
          <a:ext cx="20887765" cy="29858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a:lnSpc>
              <a:spcPct val="90000"/>
            </a:lnSpc>
            <a:spcBef>
              <a:spcPct val="0"/>
            </a:spcBef>
            <a:spcAft>
              <a:spcPct val="35000"/>
            </a:spcAft>
          </a:pPr>
          <a:r>
            <a:rPr lang="uk-UA" sz="4400" b="0" i="0" kern="1200" noProof="0" dirty="0">
              <a:solidFill>
                <a:schemeClr val="tx1"/>
              </a:solidFill>
            </a:rPr>
            <a:t>У разі зміни роботодавця, а також у разі їх реорганізації (злиття, приєднання, поділу, виділення, перетворення) дія трудового договору працівника продовжується. Припинення трудового договору з ініціативи роботодавця можливе </a:t>
          </a:r>
          <a:r>
            <a:rPr lang="uk-UA" sz="4400" b="1" i="0" kern="1200" noProof="0" dirty="0">
              <a:solidFill>
                <a:schemeClr val="tx1"/>
              </a:solidFill>
            </a:rPr>
            <a:t>лише у разі скорочення чисельності або штату працівників</a:t>
          </a:r>
          <a:r>
            <a:rPr lang="uk-UA" sz="4400" b="0" i="0" kern="1200" noProof="0" dirty="0">
              <a:solidFill>
                <a:schemeClr val="tx1"/>
              </a:solidFill>
            </a:rPr>
            <a:t> .</a:t>
          </a:r>
          <a:endParaRPr lang="uk-UA" sz="4400" kern="1200" noProof="0" dirty="0">
            <a:solidFill>
              <a:schemeClr val="tx1"/>
            </a:solidFill>
          </a:endParaRPr>
        </a:p>
      </dsp:txBody>
      <dsp:txXfrm>
        <a:off x="145757" y="4635650"/>
        <a:ext cx="20596251" cy="2694326"/>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4.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7.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6" name="Shape 116"/>
          <p:cNvSpPr>
            <a:spLocks noGrp="1" noRot="1" noChangeAspect="1"/>
          </p:cNvSpPr>
          <p:nvPr>
            <p:ph type="sldImg"/>
          </p:nvPr>
        </p:nvSpPr>
        <p:spPr>
          <a:xfrm>
            <a:off x="1143000" y="685800"/>
            <a:ext cx="4572000" cy="3429000"/>
          </a:xfrm>
          <a:prstGeom prst="rect">
            <a:avLst/>
          </a:prstGeom>
        </p:spPr>
        <p:txBody>
          <a:bodyPr/>
          <a:lstStyle/>
          <a:p>
            <a:endParaRPr/>
          </a:p>
        </p:txBody>
      </p:sp>
      <p:sp>
        <p:nvSpPr>
          <p:cNvPr id="117" name="Shape 117"/>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3646219783"/>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5BDE7-3FB4-4BD2-803E-51C7E8457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8437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Фото — горизонтально">
    <p:spTree>
      <p:nvGrpSpPr>
        <p:cNvPr id="1" name=""/>
        <p:cNvGrpSpPr/>
        <p:nvPr/>
      </p:nvGrpSpPr>
      <p:grpSpPr>
        <a:xfrm>
          <a:off x="0" y="0"/>
          <a:ext cx="0" cy="0"/>
          <a:chOff x="0" y="0"/>
          <a:chExt cx="0" cy="0"/>
        </a:xfrm>
      </p:grpSpPr>
      <p:sp>
        <p:nvSpPr>
          <p:cNvPr id="20" name="Изображение"/>
          <p:cNvSpPr>
            <a:spLocks noGrp="1"/>
          </p:cNvSpPr>
          <p:nvPr>
            <p:ph type="pic" idx="13"/>
          </p:nvPr>
        </p:nvSpPr>
        <p:spPr>
          <a:xfrm>
            <a:off x="3125968" y="673100"/>
            <a:ext cx="18135601" cy="8737600"/>
          </a:xfrm>
          <a:prstGeom prst="rect">
            <a:avLst/>
          </a:prstGeom>
        </p:spPr>
        <p:txBody>
          <a:bodyPr lIns="91439" tIns="45719" rIns="91439" bIns="45719" anchor="t">
            <a:noAutofit/>
          </a:bodyPr>
          <a:lstStyle/>
          <a:p>
            <a:endParaRPr/>
          </a:p>
        </p:txBody>
      </p:sp>
      <p:sp>
        <p:nvSpPr>
          <p:cNvPr id="21" name="Текст заголовка"/>
          <p:cNvSpPr txBox="1">
            <a:spLocks noGrp="1"/>
          </p:cNvSpPr>
          <p:nvPr>
            <p:ph type="title"/>
          </p:nvPr>
        </p:nvSpPr>
        <p:spPr>
          <a:xfrm>
            <a:off x="635000" y="9512300"/>
            <a:ext cx="23114000" cy="2006600"/>
          </a:xfrm>
          <a:prstGeom prst="rect">
            <a:avLst/>
          </a:prstGeom>
        </p:spPr>
        <p:txBody>
          <a:bodyPr anchor="b"/>
          <a:lstStyle/>
          <a:p>
            <a:r>
              <a:t>Текст заголовка</a:t>
            </a:r>
          </a:p>
        </p:txBody>
      </p:sp>
      <p:sp>
        <p:nvSpPr>
          <p:cNvPr id="22" name="Уровень текста 1…"/>
          <p:cNvSpPr txBox="1">
            <a:spLocks noGrp="1"/>
          </p:cNvSpPr>
          <p:nvPr>
            <p:ph type="body" sz="quarter" idx="1"/>
          </p:nvPr>
        </p:nvSpPr>
        <p:spPr>
          <a:xfrm>
            <a:off x="635000" y="11442700"/>
            <a:ext cx="23114000" cy="15875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23"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Picture Placeholder 2"/>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en-US"/>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9/1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73567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9/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6095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9800" y="730250"/>
            <a:ext cx="5257800" cy="116236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76400" y="730250"/>
            <a:ext cx="15468600" cy="1162367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9/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4013336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1028" name="think-cell Slide" r:id="rId5" imgW="532" imgH="530" progId="TCLayout.ActiveDocument.1">
                  <p:embed/>
                </p:oleObj>
              </mc:Choice>
              <mc:Fallback>
                <p:oleObj name="think-cell Slide"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317500" cy="317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uk-UA" sz="5600" b="0" i="0" baseline="0" dirty="0">
              <a:latin typeface="Arial" panose="020B0604020202020204" pitchFamily="34" charset="0"/>
              <a:ea typeface="+mj-ea"/>
              <a:cs typeface="+mj-cs"/>
              <a:sym typeface="Arial" panose="020B06040202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09572" y="3617640"/>
            <a:ext cx="15169812" cy="7736160"/>
          </a:xfrm>
          <a:prstGeom prst="rect">
            <a:avLst/>
          </a:prstGeom>
        </p:spPr>
        <p:txBody>
          <a:bodyPr>
            <a:noAutofit/>
          </a:bodyPr>
          <a:lstStyle>
            <a:lvl1pPr>
              <a:spcBef>
                <a:spcPts val="3600"/>
              </a:spcBef>
              <a:defRPr sz="3200">
                <a:solidFill>
                  <a:schemeClr val="tx1"/>
                </a:solidFill>
              </a:defRPr>
            </a:lvl1pPr>
            <a:lvl2pPr>
              <a:defRPr sz="3200">
                <a:solidFill>
                  <a:schemeClr val="tx1"/>
                </a:solidFill>
              </a:defRPr>
            </a:lvl2pPr>
            <a:lvl3pPr>
              <a:defRPr sz="2800">
                <a:solidFill>
                  <a:schemeClr val="tx1"/>
                </a:solidFill>
              </a:defRPr>
            </a:lvl3pPr>
            <a:lvl4pPr>
              <a:defRPr>
                <a:solidFill>
                  <a:schemeClr val="bg2"/>
                </a:solidFill>
              </a:defRPr>
            </a:lvl4pPr>
            <a:lvl5pPr>
              <a:defRPr>
                <a:solidFill>
                  <a:schemeClr val="bg2"/>
                </a:solidFill>
              </a:defRPr>
            </a:lvl5pPr>
          </a:lstStyle>
          <a:p>
            <a:pPr lvl="0"/>
            <a:r>
              <a:rPr lang="uk-UA"/>
              <a:t>Your text here</a:t>
            </a:r>
          </a:p>
          <a:p>
            <a:pPr lvl="1"/>
            <a:r>
              <a:rPr lang="uk-UA"/>
              <a:t>Text level 1</a:t>
            </a:r>
          </a:p>
          <a:p>
            <a:pPr lvl="2"/>
            <a:r>
              <a:rPr lang="uk-UA"/>
              <a:t>Text level 2</a:t>
            </a:r>
            <a:endParaRPr lang="uk-UA" dirty="0"/>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809573" y="2715357"/>
            <a:ext cx="4177920" cy="600164"/>
          </a:xfrm>
          <a:prstGeom prst="rect">
            <a:avLst/>
          </a:prstGeom>
          <a:noFill/>
        </p:spPr>
        <p:txBody>
          <a:bodyPr wrap="none" lIns="72000" rIns="72000" bIns="0">
            <a:spAutoFit/>
          </a:bodyPr>
          <a:lstStyle>
            <a:lvl1pPr marL="0" indent="0">
              <a:buNone/>
              <a:defRPr sz="4000">
                <a:solidFill>
                  <a:schemeClr val="tx2"/>
                </a:solidFill>
              </a:defRPr>
            </a:lvl1pPr>
          </a:lstStyle>
          <a:p>
            <a:pPr lvl="0"/>
            <a:r>
              <a:rPr lang="uk-UA"/>
              <a:t>Subtitle of the slide</a:t>
            </a:r>
            <a:endParaRPr lang="uk-UA" dirty="0"/>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809573" y="11946220"/>
            <a:ext cx="22926834" cy="313932"/>
          </a:xfrm>
          <a:prstGeom prst="rect">
            <a:avLst/>
          </a:prstGeom>
        </p:spPr>
        <p:txBody>
          <a:bodyPr wrap="square" lIns="72000" anchor="b">
            <a:spAutoFit/>
          </a:bodyPr>
          <a:lstStyle>
            <a:lvl1pPr marL="0" indent="0">
              <a:buNone/>
              <a:defRPr sz="1600" b="0" i="1">
                <a:solidFill>
                  <a:schemeClr val="bg1">
                    <a:lumMod val="50000"/>
                  </a:schemeClr>
                </a:solidFill>
              </a:defRPr>
            </a:lvl1pPr>
            <a:lvl2pPr marL="266700" indent="0">
              <a:buNone/>
              <a:defRPr/>
            </a:lvl2pPr>
            <a:lvl3pPr marL="1085850" indent="0">
              <a:buNone/>
              <a:defRPr/>
            </a:lvl3pPr>
            <a:lvl4pPr marL="1517650" indent="0">
              <a:buNone/>
              <a:defRPr/>
            </a:lvl4pPr>
            <a:lvl5pPr marL="2066926" indent="0">
              <a:buNone/>
              <a:defRPr/>
            </a:lvl5pPr>
          </a:lstStyle>
          <a:p>
            <a:pPr lvl="0"/>
            <a:r>
              <a:rPr lang="uk-UA"/>
              <a:t>Sources:</a:t>
            </a:r>
            <a:endParaRPr lang="uk-UA" dirty="0"/>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765865" y="12438469"/>
            <a:ext cx="720074" cy="730250"/>
          </a:xfrm>
          <a:prstGeom prst="rect">
            <a:avLst/>
          </a:prstGeom>
        </p:spPr>
        <p:txBody>
          <a:bodyPr/>
          <a:lstStyle/>
          <a:p>
            <a:fld id="{D61AABEC-672F-4B68-B914-690DA978312C}" type="slidenum">
              <a:rPr lang="uk-UA" smtClean="0"/>
              <a:pPr/>
              <a:t>‹#›</a:t>
            </a:fld>
            <a:r>
              <a:rPr lang="uk-UA"/>
              <a:t> ‒ </a:t>
            </a:r>
            <a:endParaRPr lang="uk-UA"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uk-UA"/>
              <a:t>TITLE OF THE SLIDE</a:t>
            </a:r>
            <a:endParaRPr lang="uk-UA"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24384000" cy="13716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6000" dirty="0">
              <a:solidFill>
                <a:schemeClr val="tx1"/>
              </a:solidFill>
            </a:endParaRPr>
          </a:p>
        </p:txBody>
      </p:sp>
    </p:spTree>
    <p:extLst>
      <p:ext uri="{BB962C8B-B14F-4D97-AF65-F5344CB8AC3E}">
        <p14:creationId xmlns:p14="http://schemas.microsoft.com/office/powerpoint/2010/main" val="407961197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139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p>
        </p:txBody>
      </p:sp>
      <p:sp>
        <p:nvSpPr>
          <p:cNvPr id="3" name="Subtitle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4" name="Date Placeholder 3"/>
          <p:cNvSpPr>
            <a:spLocks noGrp="1"/>
          </p:cNvSpPr>
          <p:nvPr>
            <p:ph type="dt" sz="half" idx="10"/>
          </p:nvPr>
        </p:nvSpPr>
        <p:spPr/>
        <p:txBody>
          <a:bodyPr/>
          <a:lstStyle/>
          <a:p>
            <a:fld id="{44D1D1A8-38EA-4F3B-B480-932D65B38A0A}" type="datetimeFigureOut">
              <a:rPr lang="en-US" smtClean="0"/>
              <a:t>9/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2295631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9/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6415233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700" y="3419477"/>
            <a:ext cx="21031200" cy="5705474"/>
          </a:xfrm>
        </p:spPr>
        <p:txBody>
          <a:bodyPr anchor="b"/>
          <a:lstStyle>
            <a:lvl1pPr>
              <a:defRPr sz="12000"/>
            </a:lvl1pPr>
          </a:lstStyle>
          <a:p>
            <a:r>
              <a:rPr lang="en-US"/>
              <a:t>Click to edit Master title style</a:t>
            </a:r>
          </a:p>
        </p:txBody>
      </p:sp>
      <p:sp>
        <p:nvSpPr>
          <p:cNvPr id="3" name="Text Placeholder 2"/>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4D1D1A8-38EA-4F3B-B480-932D65B38A0A}" type="datetimeFigureOut">
              <a:rPr lang="en-US" smtClean="0"/>
              <a:t>9/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9934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676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2344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4D1D1A8-38EA-4F3B-B480-932D65B38A0A}" type="datetimeFigureOut">
              <a:rPr lang="en-US" smtClean="0"/>
              <a:t>9/1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5806081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576" y="730251"/>
            <a:ext cx="21031200" cy="2651126"/>
          </a:xfrm>
        </p:spPr>
        <p:txBody>
          <a:bodyPr/>
          <a:lstStyle/>
          <a:p>
            <a:r>
              <a:rPr lang="en-US"/>
              <a:t>Click to edit Master title style</a:t>
            </a:r>
          </a:p>
        </p:txBody>
      </p:sp>
      <p:sp>
        <p:nvSpPr>
          <p:cNvPr id="3" name="Text Placeholder 2"/>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4" name="Content Placeholder 3"/>
          <p:cNvSpPr>
            <a:spLocks noGrp="1"/>
          </p:cNvSpPr>
          <p:nvPr>
            <p:ph sz="half" idx="2"/>
          </p:nvPr>
        </p:nvSpPr>
        <p:spPr>
          <a:xfrm>
            <a:off x="1679577" y="5010150"/>
            <a:ext cx="10315574"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6" name="Content Placeholder 5"/>
          <p:cNvSpPr>
            <a:spLocks noGrp="1"/>
          </p:cNvSpPr>
          <p:nvPr>
            <p:ph sz="quarter" idx="4"/>
          </p:nvPr>
        </p:nvSpPr>
        <p:spPr>
          <a:xfrm>
            <a:off x="12344400" y="5010150"/>
            <a:ext cx="10366376"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4D1D1A8-38EA-4F3B-B480-932D65B38A0A}" type="datetimeFigureOut">
              <a:rPr lang="en-US" smtClean="0"/>
              <a:t>9/19/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619814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4D1D1A8-38EA-4F3B-B480-932D65B38A0A}" type="datetimeFigureOut">
              <a:rPr lang="en-US" smtClean="0"/>
              <a:t>9/19/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38069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D1D1A8-38EA-4F3B-B480-932D65B38A0A}" type="datetimeFigureOut">
              <a:rPr lang="en-US" smtClean="0"/>
              <a:t>9/19/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512475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Content Placeholder 2"/>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9/1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027232"/>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Текст заголовка"/>
          <p:cNvSpPr txBox="1">
            <a:spLocks noGrp="1"/>
          </p:cNvSpPr>
          <p:nvPr>
            <p:ph type="title"/>
          </p:nvPr>
        </p:nvSpPr>
        <p:spPr>
          <a:xfrm>
            <a:off x="1689100" y="355600"/>
            <a:ext cx="21005800" cy="2286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Текст заголовка</a:t>
            </a:r>
          </a:p>
        </p:txBody>
      </p:sp>
      <p:sp>
        <p:nvSpPr>
          <p:cNvPr id="3" name="Уровень текста 1…"/>
          <p:cNvSpPr txBox="1">
            <a:spLocks noGrp="1"/>
          </p:cNvSpPr>
          <p:nvPr>
            <p:ph type="body" idx="1"/>
          </p:nvPr>
        </p:nvSpPr>
        <p:spPr>
          <a:xfrm>
            <a:off x="1689100" y="3149600"/>
            <a:ext cx="21005800" cy="9296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 name="Номер слайда"/>
          <p:cNvSpPr txBox="1">
            <a:spLocks noGrp="1"/>
          </p:cNvSpPr>
          <p:nvPr>
            <p:ph type="sldNum" sz="quarter" idx="2"/>
          </p:nvPr>
        </p:nvSpPr>
        <p:spPr>
          <a:xfrm>
            <a:off x="11959031" y="13081000"/>
            <a:ext cx="453238" cy="461059"/>
          </a:xfrm>
          <a:prstGeom prst="rect">
            <a:avLst/>
          </a:prstGeom>
          <a:ln w="12700">
            <a:miter lim="400000"/>
          </a:ln>
        </p:spPr>
        <p:txBody>
          <a:bodyPr wrap="none" lIns="50800" tIns="50800" rIns="50800" bIns="50800">
            <a:spAutoFit/>
          </a:bodyPr>
          <a:lstStyle>
            <a:lvl1pPr>
              <a:defRPr sz="2400" b="0">
                <a:latin typeface="Helvetica Neue Light"/>
                <a:ea typeface="Helvetica Neue Light"/>
                <a:cs typeface="Helvetica Neue Light"/>
                <a:sym typeface="Helvetica Neue Light"/>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0" r:id="rId1"/>
  </p:sldLayoutIdLst>
  <p:transition spd="med"/>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p:titleStyle>
    <p:bodyStyle>
      <a:lvl1pPr marL="63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1pPr>
      <a:lvl2pPr marL="127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2pPr>
      <a:lvl3pPr marL="190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3pPr>
      <a:lvl4pPr marL="254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4pPr>
      <a:lvl5pPr marL="317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5pPr>
      <a:lvl6pPr marL="381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6pPr>
      <a:lvl7pPr marL="444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7pPr>
      <a:lvl8pPr marL="508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8pPr>
      <a:lvl9pPr marL="571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44D1D1A8-38EA-4F3B-B480-932D65B38A0A}" type="datetimeFigureOut">
              <a:rPr lang="en-US" smtClean="0"/>
              <a:t>9/19/2022</a:t>
            </a:fld>
            <a:endParaRPr lang="en-US"/>
          </a:p>
        </p:txBody>
      </p:sp>
      <p:sp>
        <p:nvSpPr>
          <p:cNvPr id="5" name="Footer Placeholder 4"/>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63F6A7E5-3154-4AC8-AAD7-5313954CD7D1}" type="slidenum">
              <a:rPr lang="en-US" smtClean="0"/>
              <a:t>‹#›</a:t>
            </a:fld>
            <a:endParaRPr lang="en-US"/>
          </a:p>
        </p:txBody>
      </p:sp>
    </p:spTree>
    <p:extLst>
      <p:ext uri="{BB962C8B-B14F-4D97-AF65-F5344CB8AC3E}">
        <p14:creationId xmlns:p14="http://schemas.microsoft.com/office/powerpoint/2010/main" val="268606429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2.png"/><Relationship Id="rId7" Type="http://schemas.openxmlformats.org/officeDocument/2006/relationships/diagramData" Target="../diagrams/data1.xml"/><Relationship Id="rId12"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jpeg"/><Relationship Id="rId11" Type="http://schemas.microsoft.com/office/2007/relationships/diagramDrawing" Target="../diagrams/drawing1.xml"/><Relationship Id="rId5" Type="http://schemas.openxmlformats.org/officeDocument/2006/relationships/image" Target="../media/image4.png"/><Relationship Id="rId10" Type="http://schemas.openxmlformats.org/officeDocument/2006/relationships/diagramColors" Target="../diagrams/colors1.xml"/><Relationship Id="rId4" Type="http://schemas.openxmlformats.org/officeDocument/2006/relationships/image" Target="../media/image3.png"/><Relationship Id="rId9" Type="http://schemas.openxmlformats.org/officeDocument/2006/relationships/diagramQuickStyle" Target="../diagrams/quickStyle1.xml"/></Relationships>
</file>

<file path=ppt/slides/_rels/slide10.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7.png"/><Relationship Id="rId7" Type="http://schemas.openxmlformats.org/officeDocument/2006/relationships/diagramColors" Target="../diagrams/colors10.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 Id="rId9" Type="http://schemas.openxmlformats.org/officeDocument/2006/relationships/image" Target="../media/image6.png"/></Relationships>
</file>

<file path=ppt/slides/_rels/slide11.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image" Target="../media/image7.png"/><Relationship Id="rId7" Type="http://schemas.openxmlformats.org/officeDocument/2006/relationships/diagramColors" Target="../diagrams/colors11.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 Id="rId9" Type="http://schemas.openxmlformats.org/officeDocument/2006/relationships/image" Target="../media/image6.png"/></Relationships>
</file>

<file path=ppt/slides/_rels/slide12.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image" Target="../media/image7.png"/><Relationship Id="rId7" Type="http://schemas.openxmlformats.org/officeDocument/2006/relationships/diagramColors" Target="../diagrams/colors12.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 Id="rId9" Type="http://schemas.openxmlformats.org/officeDocument/2006/relationships/image" Target="../media/image6.png"/></Relationships>
</file>

<file path=ppt/slides/_rels/slide13.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image" Target="../media/image7.png"/><Relationship Id="rId7" Type="http://schemas.openxmlformats.org/officeDocument/2006/relationships/diagramColors" Target="../diagrams/colors13.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 Id="rId9" Type="http://schemas.openxmlformats.org/officeDocument/2006/relationships/image" Target="../media/image6.png"/></Relationships>
</file>

<file path=ppt/slides/_rels/slide14.xml.rels><?xml version="1.0" encoding="UTF-8" standalone="yes"?>
<Relationships xmlns="http://schemas.openxmlformats.org/package/2006/relationships"><Relationship Id="rId8" Type="http://schemas.microsoft.com/office/2007/relationships/diagramDrawing" Target="../diagrams/drawing14.xml"/><Relationship Id="rId3" Type="http://schemas.openxmlformats.org/officeDocument/2006/relationships/image" Target="../media/image7.png"/><Relationship Id="rId7" Type="http://schemas.openxmlformats.org/officeDocument/2006/relationships/diagramColors" Target="../diagrams/colors14.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14.xml"/><Relationship Id="rId5" Type="http://schemas.openxmlformats.org/officeDocument/2006/relationships/diagramLayout" Target="../diagrams/layout14.xml"/><Relationship Id="rId4" Type="http://schemas.openxmlformats.org/officeDocument/2006/relationships/diagramData" Target="../diagrams/data14.xml"/><Relationship Id="rId9" Type="http://schemas.openxmlformats.org/officeDocument/2006/relationships/image" Target="../media/image6.png"/></Relationships>
</file>

<file path=ppt/slides/_rels/slide15.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image" Target="../media/image7.png"/><Relationship Id="rId7" Type="http://schemas.openxmlformats.org/officeDocument/2006/relationships/diagramColors" Target="../diagrams/colors15.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 Id="rId9" Type="http://schemas.openxmlformats.org/officeDocument/2006/relationships/image" Target="../media/image6.png"/></Relationships>
</file>

<file path=ppt/slides/_rels/slide16.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image" Target="../media/image7.png"/><Relationship Id="rId7" Type="http://schemas.openxmlformats.org/officeDocument/2006/relationships/diagramColors" Target="../diagrams/colors16.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 Id="rId9" Type="http://schemas.openxmlformats.org/officeDocument/2006/relationships/image" Target="../media/image6.png"/></Relationships>
</file>

<file path=ppt/slides/_rels/slide17.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image" Target="../media/image7.png"/><Relationship Id="rId7" Type="http://schemas.openxmlformats.org/officeDocument/2006/relationships/diagramColors" Target="../diagrams/colors17.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17.xml"/><Relationship Id="rId5" Type="http://schemas.openxmlformats.org/officeDocument/2006/relationships/diagramLayout" Target="../diagrams/layout17.xml"/><Relationship Id="rId4" Type="http://schemas.openxmlformats.org/officeDocument/2006/relationships/diagramData" Target="../diagrams/data17.xml"/><Relationship Id="rId9" Type="http://schemas.openxmlformats.org/officeDocument/2006/relationships/image" Target="../media/image6.png"/></Relationships>
</file>

<file path=ppt/slides/_rels/slide18.xml.rels><?xml version="1.0" encoding="UTF-8" standalone="yes"?>
<Relationships xmlns="http://schemas.openxmlformats.org/package/2006/relationships"><Relationship Id="rId8" Type="http://schemas.microsoft.com/office/2007/relationships/diagramDrawing" Target="../diagrams/drawing18.xml"/><Relationship Id="rId3" Type="http://schemas.openxmlformats.org/officeDocument/2006/relationships/image" Target="../media/image7.png"/><Relationship Id="rId7" Type="http://schemas.openxmlformats.org/officeDocument/2006/relationships/diagramColors" Target="../diagrams/colors18.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 Id="rId9"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microsoft.com/office/2007/relationships/diagramDrawing" Target="../diagrams/drawing19.xml"/><Relationship Id="rId3" Type="http://schemas.openxmlformats.org/officeDocument/2006/relationships/image" Target="../media/image7.png"/><Relationship Id="rId7" Type="http://schemas.openxmlformats.org/officeDocument/2006/relationships/diagramColors" Target="../diagrams/colors19.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7.png"/><Relationship Id="rId7" Type="http://schemas.openxmlformats.org/officeDocument/2006/relationships/diagramColors" Target="../diagrams/colors2.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6.png"/></Relationships>
</file>

<file path=ppt/slides/_rels/slide20.xml.rels><?xml version="1.0" encoding="UTF-8" standalone="yes"?>
<Relationships xmlns="http://schemas.openxmlformats.org/package/2006/relationships"><Relationship Id="rId8" Type="http://schemas.microsoft.com/office/2007/relationships/diagramDrawing" Target="../diagrams/drawing20.xml"/><Relationship Id="rId3" Type="http://schemas.openxmlformats.org/officeDocument/2006/relationships/image" Target="../media/image7.png"/><Relationship Id="rId7" Type="http://schemas.openxmlformats.org/officeDocument/2006/relationships/diagramColors" Target="../diagrams/colors20.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0.xml"/><Relationship Id="rId5" Type="http://schemas.openxmlformats.org/officeDocument/2006/relationships/diagramLayout" Target="../diagrams/layout20.xml"/><Relationship Id="rId4" Type="http://schemas.openxmlformats.org/officeDocument/2006/relationships/diagramData" Target="../diagrams/data20.xml"/><Relationship Id="rId9" Type="http://schemas.openxmlformats.org/officeDocument/2006/relationships/image" Target="../media/image6.png"/></Relationships>
</file>

<file path=ppt/slides/_rels/slide21.xml.rels><?xml version="1.0" encoding="UTF-8" standalone="yes"?>
<Relationships xmlns="http://schemas.openxmlformats.org/package/2006/relationships"><Relationship Id="rId8" Type="http://schemas.microsoft.com/office/2007/relationships/diagramDrawing" Target="../diagrams/drawing21.xml"/><Relationship Id="rId3" Type="http://schemas.openxmlformats.org/officeDocument/2006/relationships/image" Target="../media/image7.png"/><Relationship Id="rId7" Type="http://schemas.openxmlformats.org/officeDocument/2006/relationships/diagramColors" Target="../diagrams/colors21.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 Id="rId9" Type="http://schemas.openxmlformats.org/officeDocument/2006/relationships/image" Target="../media/image6.png"/></Relationships>
</file>

<file path=ppt/slides/_rels/slide22.xml.rels><?xml version="1.0" encoding="UTF-8" standalone="yes"?>
<Relationships xmlns="http://schemas.openxmlformats.org/package/2006/relationships"><Relationship Id="rId8" Type="http://schemas.microsoft.com/office/2007/relationships/diagramDrawing" Target="../diagrams/drawing22.xml"/><Relationship Id="rId3" Type="http://schemas.openxmlformats.org/officeDocument/2006/relationships/image" Target="../media/image7.png"/><Relationship Id="rId7" Type="http://schemas.openxmlformats.org/officeDocument/2006/relationships/diagramColors" Target="../diagrams/colors22.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2.xml"/><Relationship Id="rId5" Type="http://schemas.openxmlformats.org/officeDocument/2006/relationships/diagramLayout" Target="../diagrams/layout22.xml"/><Relationship Id="rId4" Type="http://schemas.openxmlformats.org/officeDocument/2006/relationships/diagramData" Target="../diagrams/data22.xml"/><Relationship Id="rId9" Type="http://schemas.openxmlformats.org/officeDocument/2006/relationships/image" Target="../media/image6.png"/></Relationships>
</file>

<file path=ppt/slides/_rels/slide23.xml.rels><?xml version="1.0" encoding="UTF-8" standalone="yes"?>
<Relationships xmlns="http://schemas.openxmlformats.org/package/2006/relationships"><Relationship Id="rId8" Type="http://schemas.microsoft.com/office/2007/relationships/diagramDrawing" Target="../diagrams/drawing23.xml"/><Relationship Id="rId3" Type="http://schemas.openxmlformats.org/officeDocument/2006/relationships/image" Target="../media/image7.png"/><Relationship Id="rId7" Type="http://schemas.openxmlformats.org/officeDocument/2006/relationships/diagramColors" Target="../diagrams/colors23.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3.xml"/><Relationship Id="rId5" Type="http://schemas.openxmlformats.org/officeDocument/2006/relationships/diagramLayout" Target="../diagrams/layout23.xml"/><Relationship Id="rId4" Type="http://schemas.openxmlformats.org/officeDocument/2006/relationships/diagramData" Target="../diagrams/data23.xml"/><Relationship Id="rId9" Type="http://schemas.openxmlformats.org/officeDocument/2006/relationships/image" Target="../media/image6.png"/></Relationships>
</file>

<file path=ppt/slides/_rels/slide24.xml.rels><?xml version="1.0" encoding="UTF-8" standalone="yes"?>
<Relationships xmlns="http://schemas.openxmlformats.org/package/2006/relationships"><Relationship Id="rId8" Type="http://schemas.microsoft.com/office/2007/relationships/diagramDrawing" Target="../diagrams/drawing24.xml"/><Relationship Id="rId3" Type="http://schemas.openxmlformats.org/officeDocument/2006/relationships/image" Target="../media/image7.png"/><Relationship Id="rId7" Type="http://schemas.openxmlformats.org/officeDocument/2006/relationships/diagramColors" Target="../diagrams/colors24.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4.xml"/><Relationship Id="rId5" Type="http://schemas.openxmlformats.org/officeDocument/2006/relationships/diagramLayout" Target="../diagrams/layout24.xml"/><Relationship Id="rId4" Type="http://schemas.openxmlformats.org/officeDocument/2006/relationships/diagramData" Target="../diagrams/data24.xml"/><Relationship Id="rId9" Type="http://schemas.openxmlformats.org/officeDocument/2006/relationships/image" Target="../media/image6.png"/></Relationships>
</file>

<file path=ppt/slides/_rels/slide25.xml.rels><?xml version="1.0" encoding="UTF-8" standalone="yes"?>
<Relationships xmlns="http://schemas.openxmlformats.org/package/2006/relationships"><Relationship Id="rId8" Type="http://schemas.microsoft.com/office/2007/relationships/diagramDrawing" Target="../diagrams/drawing25.xml"/><Relationship Id="rId3" Type="http://schemas.openxmlformats.org/officeDocument/2006/relationships/image" Target="../media/image7.png"/><Relationship Id="rId7" Type="http://schemas.openxmlformats.org/officeDocument/2006/relationships/diagramColors" Target="../diagrams/colors25.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5.xml"/><Relationship Id="rId5" Type="http://schemas.openxmlformats.org/officeDocument/2006/relationships/diagramLayout" Target="../diagrams/layout25.xml"/><Relationship Id="rId4" Type="http://schemas.openxmlformats.org/officeDocument/2006/relationships/diagramData" Target="../diagrams/data25.xml"/><Relationship Id="rId9" Type="http://schemas.openxmlformats.org/officeDocument/2006/relationships/image" Target="../media/image6.png"/></Relationships>
</file>

<file path=ppt/slides/_rels/slide26.xml.rels><?xml version="1.0" encoding="UTF-8" standalone="yes"?>
<Relationships xmlns="http://schemas.openxmlformats.org/package/2006/relationships"><Relationship Id="rId8" Type="http://schemas.microsoft.com/office/2007/relationships/diagramDrawing" Target="../diagrams/drawing26.xml"/><Relationship Id="rId3" Type="http://schemas.openxmlformats.org/officeDocument/2006/relationships/image" Target="../media/image7.png"/><Relationship Id="rId7" Type="http://schemas.openxmlformats.org/officeDocument/2006/relationships/diagramColors" Target="../diagrams/colors26.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6.xml"/><Relationship Id="rId5" Type="http://schemas.openxmlformats.org/officeDocument/2006/relationships/diagramLayout" Target="../diagrams/layout26.xml"/><Relationship Id="rId4" Type="http://schemas.openxmlformats.org/officeDocument/2006/relationships/diagramData" Target="../diagrams/data26.xml"/><Relationship Id="rId9" Type="http://schemas.openxmlformats.org/officeDocument/2006/relationships/image" Target="../media/image6.png"/></Relationships>
</file>

<file path=ppt/slides/_rels/slide27.xml.rels><?xml version="1.0" encoding="UTF-8" standalone="yes"?>
<Relationships xmlns="http://schemas.openxmlformats.org/package/2006/relationships"><Relationship Id="rId8" Type="http://schemas.microsoft.com/office/2007/relationships/diagramDrawing" Target="../diagrams/drawing27.xml"/><Relationship Id="rId3" Type="http://schemas.openxmlformats.org/officeDocument/2006/relationships/image" Target="../media/image7.png"/><Relationship Id="rId7" Type="http://schemas.openxmlformats.org/officeDocument/2006/relationships/diagramColors" Target="../diagrams/colors27.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7.xml"/><Relationship Id="rId5" Type="http://schemas.openxmlformats.org/officeDocument/2006/relationships/diagramLayout" Target="../diagrams/layout27.xml"/><Relationship Id="rId4" Type="http://schemas.openxmlformats.org/officeDocument/2006/relationships/diagramData" Target="../diagrams/data27.xml"/><Relationship Id="rId9" Type="http://schemas.openxmlformats.org/officeDocument/2006/relationships/image" Target="../media/image6.png"/></Relationships>
</file>

<file path=ppt/slides/_rels/slide28.xml.rels><?xml version="1.0" encoding="UTF-8" standalone="yes"?>
<Relationships xmlns="http://schemas.openxmlformats.org/package/2006/relationships"><Relationship Id="rId8" Type="http://schemas.microsoft.com/office/2007/relationships/diagramDrawing" Target="../diagrams/drawing28.xml"/><Relationship Id="rId3" Type="http://schemas.openxmlformats.org/officeDocument/2006/relationships/image" Target="../media/image7.png"/><Relationship Id="rId7" Type="http://schemas.openxmlformats.org/officeDocument/2006/relationships/diagramColors" Target="../diagrams/colors28.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8.xml"/><Relationship Id="rId5" Type="http://schemas.openxmlformats.org/officeDocument/2006/relationships/diagramLayout" Target="../diagrams/layout28.xml"/><Relationship Id="rId4" Type="http://schemas.openxmlformats.org/officeDocument/2006/relationships/diagramData" Target="../diagrams/data28.xml"/><Relationship Id="rId9" Type="http://schemas.openxmlformats.org/officeDocument/2006/relationships/image" Target="../media/image6.png"/></Relationships>
</file>

<file path=ppt/slides/_rels/slide29.xml.rels><?xml version="1.0" encoding="UTF-8" standalone="yes"?>
<Relationships xmlns="http://schemas.openxmlformats.org/package/2006/relationships"><Relationship Id="rId8" Type="http://schemas.microsoft.com/office/2007/relationships/diagramDrawing" Target="../diagrams/drawing29.xml"/><Relationship Id="rId3" Type="http://schemas.openxmlformats.org/officeDocument/2006/relationships/image" Target="../media/image7.png"/><Relationship Id="rId7" Type="http://schemas.openxmlformats.org/officeDocument/2006/relationships/diagramColors" Target="../diagrams/colors29.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9.xml"/><Relationship Id="rId5" Type="http://schemas.openxmlformats.org/officeDocument/2006/relationships/diagramLayout" Target="../diagrams/layout29.xml"/><Relationship Id="rId4" Type="http://schemas.openxmlformats.org/officeDocument/2006/relationships/diagramData" Target="../diagrams/data29.xml"/><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7.png"/><Relationship Id="rId7" Type="http://schemas.openxmlformats.org/officeDocument/2006/relationships/diagramColors" Target="../diagrams/colors3.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6.png"/></Relationships>
</file>

<file path=ppt/slides/_rels/slide30.xml.rels><?xml version="1.0" encoding="UTF-8" standalone="yes"?>
<Relationships xmlns="http://schemas.openxmlformats.org/package/2006/relationships"><Relationship Id="rId8" Type="http://schemas.microsoft.com/office/2007/relationships/diagramDrawing" Target="../diagrams/drawing30.xml"/><Relationship Id="rId3" Type="http://schemas.openxmlformats.org/officeDocument/2006/relationships/image" Target="../media/image7.png"/><Relationship Id="rId7" Type="http://schemas.openxmlformats.org/officeDocument/2006/relationships/diagramColors" Target="../diagrams/colors30.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0.xml"/><Relationship Id="rId5" Type="http://schemas.openxmlformats.org/officeDocument/2006/relationships/diagramLayout" Target="../diagrams/layout30.xml"/><Relationship Id="rId4" Type="http://schemas.openxmlformats.org/officeDocument/2006/relationships/diagramData" Target="../diagrams/data30.xml"/><Relationship Id="rId9" Type="http://schemas.openxmlformats.org/officeDocument/2006/relationships/image" Target="../media/image6.png"/></Relationships>
</file>

<file path=ppt/slides/_rels/slide31.xml.rels><?xml version="1.0" encoding="UTF-8" standalone="yes"?>
<Relationships xmlns="http://schemas.openxmlformats.org/package/2006/relationships"><Relationship Id="rId8" Type="http://schemas.microsoft.com/office/2007/relationships/diagramDrawing" Target="../diagrams/drawing31.xml"/><Relationship Id="rId3" Type="http://schemas.openxmlformats.org/officeDocument/2006/relationships/image" Target="../media/image7.png"/><Relationship Id="rId7" Type="http://schemas.openxmlformats.org/officeDocument/2006/relationships/diagramColors" Target="../diagrams/colors31.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1.xml"/><Relationship Id="rId5" Type="http://schemas.openxmlformats.org/officeDocument/2006/relationships/diagramLayout" Target="../diagrams/layout31.xml"/><Relationship Id="rId4" Type="http://schemas.openxmlformats.org/officeDocument/2006/relationships/diagramData" Target="../diagrams/data31.xml"/><Relationship Id="rId9" Type="http://schemas.openxmlformats.org/officeDocument/2006/relationships/image" Target="../media/image6.png"/></Relationships>
</file>

<file path=ppt/slides/_rels/slide32.xml.rels><?xml version="1.0" encoding="UTF-8" standalone="yes"?>
<Relationships xmlns="http://schemas.openxmlformats.org/package/2006/relationships"><Relationship Id="rId8" Type="http://schemas.microsoft.com/office/2007/relationships/diagramDrawing" Target="../diagrams/drawing32.xml"/><Relationship Id="rId3" Type="http://schemas.openxmlformats.org/officeDocument/2006/relationships/image" Target="../media/image7.png"/><Relationship Id="rId7" Type="http://schemas.openxmlformats.org/officeDocument/2006/relationships/diagramColors" Target="../diagrams/colors32.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2.xml"/><Relationship Id="rId5" Type="http://schemas.openxmlformats.org/officeDocument/2006/relationships/diagramLayout" Target="../diagrams/layout32.xml"/><Relationship Id="rId4" Type="http://schemas.openxmlformats.org/officeDocument/2006/relationships/diagramData" Target="../diagrams/data32.xml"/><Relationship Id="rId9" Type="http://schemas.openxmlformats.org/officeDocument/2006/relationships/image" Target="../media/image6.png"/></Relationships>
</file>

<file path=ppt/slides/_rels/slide33.xml.rels><?xml version="1.0" encoding="UTF-8" standalone="yes"?>
<Relationships xmlns="http://schemas.openxmlformats.org/package/2006/relationships"><Relationship Id="rId8" Type="http://schemas.microsoft.com/office/2007/relationships/diagramDrawing" Target="../diagrams/drawing33.xml"/><Relationship Id="rId3" Type="http://schemas.openxmlformats.org/officeDocument/2006/relationships/image" Target="../media/image7.png"/><Relationship Id="rId7" Type="http://schemas.openxmlformats.org/officeDocument/2006/relationships/diagramColors" Target="../diagrams/colors33.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3.xml"/><Relationship Id="rId5" Type="http://schemas.openxmlformats.org/officeDocument/2006/relationships/diagramLayout" Target="../diagrams/layout33.xml"/><Relationship Id="rId4" Type="http://schemas.openxmlformats.org/officeDocument/2006/relationships/diagramData" Target="../diagrams/data33.xml"/><Relationship Id="rId9" Type="http://schemas.openxmlformats.org/officeDocument/2006/relationships/image" Target="../media/image6.png"/></Relationships>
</file>

<file path=ppt/slides/_rels/slide34.xml.rels><?xml version="1.0" encoding="UTF-8" standalone="yes"?>
<Relationships xmlns="http://schemas.openxmlformats.org/package/2006/relationships"><Relationship Id="rId8" Type="http://schemas.microsoft.com/office/2007/relationships/diagramDrawing" Target="../diagrams/drawing34.xml"/><Relationship Id="rId3" Type="http://schemas.openxmlformats.org/officeDocument/2006/relationships/image" Target="../media/image7.png"/><Relationship Id="rId7" Type="http://schemas.openxmlformats.org/officeDocument/2006/relationships/diagramColors" Target="../diagrams/colors34.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4.xml"/><Relationship Id="rId5" Type="http://schemas.openxmlformats.org/officeDocument/2006/relationships/diagramLayout" Target="../diagrams/layout34.xml"/><Relationship Id="rId4" Type="http://schemas.openxmlformats.org/officeDocument/2006/relationships/diagramData" Target="../diagrams/data34.xml"/><Relationship Id="rId9" Type="http://schemas.openxmlformats.org/officeDocument/2006/relationships/image" Target="../media/image6.png"/></Relationships>
</file>

<file path=ppt/slides/_rels/slide35.xml.rels><?xml version="1.0" encoding="UTF-8" standalone="yes"?>
<Relationships xmlns="http://schemas.openxmlformats.org/package/2006/relationships"><Relationship Id="rId8" Type="http://schemas.microsoft.com/office/2007/relationships/diagramDrawing" Target="../diagrams/drawing35.xml"/><Relationship Id="rId3" Type="http://schemas.openxmlformats.org/officeDocument/2006/relationships/image" Target="../media/image7.png"/><Relationship Id="rId7" Type="http://schemas.openxmlformats.org/officeDocument/2006/relationships/diagramColors" Target="../diagrams/colors35.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5.xml"/><Relationship Id="rId5" Type="http://schemas.openxmlformats.org/officeDocument/2006/relationships/diagramLayout" Target="../diagrams/layout35.xml"/><Relationship Id="rId4" Type="http://schemas.openxmlformats.org/officeDocument/2006/relationships/diagramData" Target="../diagrams/data35.xml"/><Relationship Id="rId9" Type="http://schemas.openxmlformats.org/officeDocument/2006/relationships/image" Target="../media/image6.png"/></Relationships>
</file>

<file path=ppt/slides/_rels/slide36.xml.rels><?xml version="1.0" encoding="UTF-8" standalone="yes"?>
<Relationships xmlns="http://schemas.openxmlformats.org/package/2006/relationships"><Relationship Id="rId8" Type="http://schemas.microsoft.com/office/2007/relationships/diagramDrawing" Target="../diagrams/drawing36.xml"/><Relationship Id="rId3" Type="http://schemas.openxmlformats.org/officeDocument/2006/relationships/image" Target="../media/image7.png"/><Relationship Id="rId7" Type="http://schemas.openxmlformats.org/officeDocument/2006/relationships/diagramColors" Target="../diagrams/colors36.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6.xml"/><Relationship Id="rId5" Type="http://schemas.openxmlformats.org/officeDocument/2006/relationships/diagramLayout" Target="../diagrams/layout36.xml"/><Relationship Id="rId4" Type="http://schemas.openxmlformats.org/officeDocument/2006/relationships/diagramData" Target="../diagrams/data36.xml"/><Relationship Id="rId9" Type="http://schemas.openxmlformats.org/officeDocument/2006/relationships/image" Target="../media/image6.png"/></Relationships>
</file>

<file path=ppt/slides/_rels/slide37.xml.rels><?xml version="1.0" encoding="UTF-8" standalone="yes"?>
<Relationships xmlns="http://schemas.openxmlformats.org/package/2006/relationships"><Relationship Id="rId8" Type="http://schemas.microsoft.com/office/2007/relationships/diagramDrawing" Target="../diagrams/drawing37.xml"/><Relationship Id="rId3" Type="http://schemas.openxmlformats.org/officeDocument/2006/relationships/image" Target="../media/image7.png"/><Relationship Id="rId7" Type="http://schemas.openxmlformats.org/officeDocument/2006/relationships/diagramColors" Target="../diagrams/colors37.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7.xml"/><Relationship Id="rId5" Type="http://schemas.openxmlformats.org/officeDocument/2006/relationships/diagramLayout" Target="../diagrams/layout37.xml"/><Relationship Id="rId4" Type="http://schemas.openxmlformats.org/officeDocument/2006/relationships/diagramData" Target="../diagrams/data37.xml"/><Relationship Id="rId9" Type="http://schemas.openxmlformats.org/officeDocument/2006/relationships/image" Target="../media/image6.png"/></Relationships>
</file>

<file path=ppt/slides/_rels/slide38.xml.rels><?xml version="1.0" encoding="UTF-8" standalone="yes"?>
<Relationships xmlns="http://schemas.openxmlformats.org/package/2006/relationships"><Relationship Id="rId8" Type="http://schemas.microsoft.com/office/2007/relationships/diagramDrawing" Target="../diagrams/drawing38.xml"/><Relationship Id="rId3" Type="http://schemas.openxmlformats.org/officeDocument/2006/relationships/image" Target="../media/image7.png"/><Relationship Id="rId7" Type="http://schemas.openxmlformats.org/officeDocument/2006/relationships/diagramColors" Target="../diagrams/colors38.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8.xml"/><Relationship Id="rId5" Type="http://schemas.openxmlformats.org/officeDocument/2006/relationships/diagramLayout" Target="../diagrams/layout38.xml"/><Relationship Id="rId4" Type="http://schemas.openxmlformats.org/officeDocument/2006/relationships/diagramData" Target="../diagrams/data38.xml"/><Relationship Id="rId9" Type="http://schemas.openxmlformats.org/officeDocument/2006/relationships/image" Target="../media/image6.png"/></Relationships>
</file>

<file path=ppt/slides/_rels/slide39.xml.rels><?xml version="1.0" encoding="UTF-8" standalone="yes"?>
<Relationships xmlns="http://schemas.openxmlformats.org/package/2006/relationships"><Relationship Id="rId8" Type="http://schemas.microsoft.com/office/2007/relationships/diagramDrawing" Target="../diagrams/drawing39.xml"/><Relationship Id="rId3" Type="http://schemas.openxmlformats.org/officeDocument/2006/relationships/image" Target="../media/image7.png"/><Relationship Id="rId7" Type="http://schemas.openxmlformats.org/officeDocument/2006/relationships/diagramColors" Target="../diagrams/colors39.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9.xml"/><Relationship Id="rId5" Type="http://schemas.openxmlformats.org/officeDocument/2006/relationships/diagramLayout" Target="../diagrams/layout39.xml"/><Relationship Id="rId4" Type="http://schemas.openxmlformats.org/officeDocument/2006/relationships/diagramData" Target="../diagrams/data39.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7.png"/><Relationship Id="rId7" Type="http://schemas.openxmlformats.org/officeDocument/2006/relationships/diagramColors" Target="../diagrams/colors4.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 Id="rId9" Type="http://schemas.openxmlformats.org/officeDocument/2006/relationships/image" Target="../media/image6.png"/></Relationships>
</file>

<file path=ppt/slides/_rels/slide40.xml.rels><?xml version="1.0" encoding="UTF-8" standalone="yes"?>
<Relationships xmlns="http://schemas.openxmlformats.org/package/2006/relationships"><Relationship Id="rId8" Type="http://schemas.microsoft.com/office/2007/relationships/diagramDrawing" Target="../diagrams/drawing40.xml"/><Relationship Id="rId3" Type="http://schemas.openxmlformats.org/officeDocument/2006/relationships/image" Target="../media/image7.png"/><Relationship Id="rId7" Type="http://schemas.openxmlformats.org/officeDocument/2006/relationships/diagramColors" Target="../diagrams/colors40.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40.xml"/><Relationship Id="rId5" Type="http://schemas.openxmlformats.org/officeDocument/2006/relationships/diagramLayout" Target="../diagrams/layout40.xml"/><Relationship Id="rId4" Type="http://schemas.openxmlformats.org/officeDocument/2006/relationships/diagramData" Target="../diagrams/data40.xml"/><Relationship Id="rId9" Type="http://schemas.openxmlformats.org/officeDocument/2006/relationships/image" Target="../media/image6.png"/></Relationships>
</file>

<file path=ppt/slides/_rels/slide41.xml.rels><?xml version="1.0" encoding="UTF-8" standalone="yes"?>
<Relationships xmlns="http://schemas.openxmlformats.org/package/2006/relationships"><Relationship Id="rId8" Type="http://schemas.microsoft.com/office/2007/relationships/diagramDrawing" Target="../diagrams/drawing41.xml"/><Relationship Id="rId3" Type="http://schemas.openxmlformats.org/officeDocument/2006/relationships/image" Target="../media/image7.png"/><Relationship Id="rId7" Type="http://schemas.openxmlformats.org/officeDocument/2006/relationships/diagramColors" Target="../diagrams/colors41.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41.xml"/><Relationship Id="rId5" Type="http://schemas.openxmlformats.org/officeDocument/2006/relationships/diagramLayout" Target="../diagrams/layout41.xml"/><Relationship Id="rId4" Type="http://schemas.openxmlformats.org/officeDocument/2006/relationships/diagramData" Target="../diagrams/data41.xml"/><Relationship Id="rId9" Type="http://schemas.openxmlformats.org/officeDocument/2006/relationships/image" Target="../media/image6.png"/></Relationships>
</file>

<file path=ppt/slides/_rels/slide42.xml.rels><?xml version="1.0" encoding="UTF-8" standalone="yes"?>
<Relationships xmlns="http://schemas.openxmlformats.org/package/2006/relationships"><Relationship Id="rId8" Type="http://schemas.microsoft.com/office/2007/relationships/diagramDrawing" Target="../diagrams/drawing42.xml"/><Relationship Id="rId3" Type="http://schemas.openxmlformats.org/officeDocument/2006/relationships/image" Target="../media/image7.png"/><Relationship Id="rId7" Type="http://schemas.openxmlformats.org/officeDocument/2006/relationships/diagramColors" Target="../diagrams/colors42.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42.xml"/><Relationship Id="rId5" Type="http://schemas.openxmlformats.org/officeDocument/2006/relationships/diagramLayout" Target="../diagrams/layout42.xml"/><Relationship Id="rId4" Type="http://schemas.openxmlformats.org/officeDocument/2006/relationships/diagramData" Target="../diagrams/data42.xml"/><Relationship Id="rId9" Type="http://schemas.openxmlformats.org/officeDocument/2006/relationships/image" Target="../media/image6.png"/></Relationships>
</file>

<file path=ppt/slides/_rels/slide43.xml.rels><?xml version="1.0" encoding="UTF-8" standalone="yes"?>
<Relationships xmlns="http://schemas.openxmlformats.org/package/2006/relationships"><Relationship Id="rId8" Type="http://schemas.microsoft.com/office/2007/relationships/diagramDrawing" Target="../diagrams/drawing43.xml"/><Relationship Id="rId3" Type="http://schemas.openxmlformats.org/officeDocument/2006/relationships/image" Target="../media/image7.png"/><Relationship Id="rId7" Type="http://schemas.openxmlformats.org/officeDocument/2006/relationships/diagramColors" Target="../diagrams/colors43.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43.xml"/><Relationship Id="rId5" Type="http://schemas.openxmlformats.org/officeDocument/2006/relationships/diagramLayout" Target="../diagrams/layout43.xml"/><Relationship Id="rId4" Type="http://schemas.openxmlformats.org/officeDocument/2006/relationships/diagramData" Target="../diagrams/data43.xml"/><Relationship Id="rId9" Type="http://schemas.openxmlformats.org/officeDocument/2006/relationships/image" Target="../media/image6.png"/></Relationships>
</file>

<file path=ppt/slides/_rels/slide44.xml.rels><?xml version="1.0" encoding="UTF-8" standalone="yes"?>
<Relationships xmlns="http://schemas.openxmlformats.org/package/2006/relationships"><Relationship Id="rId8" Type="http://schemas.microsoft.com/office/2007/relationships/diagramDrawing" Target="../diagrams/drawing44.xml"/><Relationship Id="rId3" Type="http://schemas.openxmlformats.org/officeDocument/2006/relationships/image" Target="../media/image7.png"/><Relationship Id="rId7" Type="http://schemas.openxmlformats.org/officeDocument/2006/relationships/diagramColors" Target="../diagrams/colors44.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44.xml"/><Relationship Id="rId5" Type="http://schemas.openxmlformats.org/officeDocument/2006/relationships/diagramLayout" Target="../diagrams/layout44.xml"/><Relationship Id="rId4" Type="http://schemas.openxmlformats.org/officeDocument/2006/relationships/diagramData" Target="../diagrams/data44.xml"/><Relationship Id="rId9" Type="http://schemas.openxmlformats.org/officeDocument/2006/relationships/image" Target="../media/image6.png"/></Relationships>
</file>

<file path=ppt/slides/_rels/slide45.xml.rels><?xml version="1.0" encoding="UTF-8" standalone="yes"?>
<Relationships xmlns="http://schemas.openxmlformats.org/package/2006/relationships"><Relationship Id="rId8" Type="http://schemas.microsoft.com/office/2007/relationships/diagramDrawing" Target="../diagrams/drawing45.xml"/><Relationship Id="rId3" Type="http://schemas.openxmlformats.org/officeDocument/2006/relationships/image" Target="../media/image7.png"/><Relationship Id="rId7" Type="http://schemas.openxmlformats.org/officeDocument/2006/relationships/diagramColors" Target="../diagrams/colors45.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45.xml"/><Relationship Id="rId5" Type="http://schemas.openxmlformats.org/officeDocument/2006/relationships/diagramLayout" Target="../diagrams/layout45.xml"/><Relationship Id="rId4" Type="http://schemas.openxmlformats.org/officeDocument/2006/relationships/diagramData" Target="../diagrams/data45.xml"/><Relationship Id="rId9" Type="http://schemas.openxmlformats.org/officeDocument/2006/relationships/image" Target="../media/image6.png"/></Relationships>
</file>

<file path=ppt/slides/_rels/slide46.xml.rels><?xml version="1.0" encoding="UTF-8" standalone="yes"?>
<Relationships xmlns="http://schemas.openxmlformats.org/package/2006/relationships"><Relationship Id="rId8" Type="http://schemas.microsoft.com/office/2007/relationships/diagramDrawing" Target="../diagrams/drawing46.xml"/><Relationship Id="rId3" Type="http://schemas.openxmlformats.org/officeDocument/2006/relationships/image" Target="../media/image7.png"/><Relationship Id="rId7" Type="http://schemas.openxmlformats.org/officeDocument/2006/relationships/diagramColors" Target="../diagrams/colors46.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46.xml"/><Relationship Id="rId5" Type="http://schemas.openxmlformats.org/officeDocument/2006/relationships/diagramLayout" Target="../diagrams/layout46.xml"/><Relationship Id="rId4" Type="http://schemas.openxmlformats.org/officeDocument/2006/relationships/diagramData" Target="../diagrams/data46.xml"/><Relationship Id="rId9" Type="http://schemas.openxmlformats.org/officeDocument/2006/relationships/image" Target="../media/image6.png"/></Relationships>
</file>

<file path=ppt/slides/_rels/slide47.xml.rels><?xml version="1.0" encoding="UTF-8" standalone="yes"?>
<Relationships xmlns="http://schemas.openxmlformats.org/package/2006/relationships"><Relationship Id="rId8" Type="http://schemas.microsoft.com/office/2007/relationships/diagramDrawing" Target="../diagrams/drawing47.xml"/><Relationship Id="rId3" Type="http://schemas.openxmlformats.org/officeDocument/2006/relationships/image" Target="../media/image7.png"/><Relationship Id="rId7" Type="http://schemas.openxmlformats.org/officeDocument/2006/relationships/diagramColors" Target="../diagrams/colors47.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47.xml"/><Relationship Id="rId5" Type="http://schemas.openxmlformats.org/officeDocument/2006/relationships/diagramLayout" Target="../diagrams/layout47.xml"/><Relationship Id="rId4" Type="http://schemas.openxmlformats.org/officeDocument/2006/relationships/diagramData" Target="../diagrams/data47.xml"/><Relationship Id="rId9" Type="http://schemas.openxmlformats.org/officeDocument/2006/relationships/image" Target="../media/image6.png"/></Relationships>
</file>

<file path=ppt/slides/_rels/slide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7.png"/><Relationship Id="rId7" Type="http://schemas.openxmlformats.org/officeDocument/2006/relationships/diagramColors" Target="../diagrams/colors5.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 Id="rId9"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7.png"/><Relationship Id="rId7" Type="http://schemas.openxmlformats.org/officeDocument/2006/relationships/diagramColors" Target="../diagrams/colors6.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 Id="rId9"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7.png"/><Relationship Id="rId7" Type="http://schemas.openxmlformats.org/officeDocument/2006/relationships/diagramColors" Target="../diagrams/colors7.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7.png"/><Relationship Id="rId7" Type="http://schemas.openxmlformats.org/officeDocument/2006/relationships/diagramColors" Target="../diagrams/colors8.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7.png"/><Relationship Id="rId7" Type="http://schemas.openxmlformats.org/officeDocument/2006/relationships/diagramColors" Target="../diagrams/colors9.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 Id="rId9"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077214" y="1353588"/>
            <a:ext cx="14789064" cy="1913916"/>
          </a:xfrm>
        </p:spPr>
        <p:txBody>
          <a:bodyPr/>
          <a:lstStyle/>
          <a:p>
            <a:r>
              <a:rPr lang="uk-UA" dirty="0">
                <a:solidFill>
                  <a:srgbClr val="0070C0"/>
                </a:solidFill>
                <a:latin typeface="Arial" panose="020B0604020202020204" pitchFamily="34" charset="0"/>
                <a:cs typeface="Arial" panose="020B0604020202020204" pitchFamily="34" charset="0"/>
              </a:rPr>
              <a:t> </a:t>
            </a:r>
            <a:endParaRPr lang="en-US" dirty="0">
              <a:solidFill>
                <a:srgbClr val="0070C0"/>
              </a:solidFill>
              <a:latin typeface="Arial" panose="020B0604020202020204" pitchFamily="34" charset="0"/>
              <a:cs typeface="Arial" panose="020B0604020202020204" pitchFamily="34" charset="0"/>
            </a:endParaRPr>
          </a:p>
        </p:txBody>
      </p:sp>
      <p:sp>
        <p:nvSpPr>
          <p:cNvPr id="3" name="Подзаголовок 2"/>
          <p:cNvSpPr>
            <a:spLocks noGrp="1"/>
          </p:cNvSpPr>
          <p:nvPr>
            <p:ph type="subTitle" idx="1"/>
          </p:nvPr>
        </p:nvSpPr>
        <p:spPr>
          <a:xfrm>
            <a:off x="2573866" y="4388568"/>
            <a:ext cx="20641733" cy="4128398"/>
          </a:xfrm>
        </p:spPr>
        <p:txBody>
          <a:bodyPr>
            <a:noAutofit/>
          </a:bodyPr>
          <a:lstStyle/>
          <a:p>
            <a:pPr>
              <a:lnSpc>
                <a:spcPct val="100000"/>
              </a:lnSpc>
              <a:spcAft>
                <a:spcPts val="800"/>
              </a:spcAft>
            </a:pPr>
            <a:r>
              <a:rPr lang="uk-UA" sz="4400" dirty="0">
                <a:solidFill>
                  <a:srgbClr val="000000"/>
                </a:solidFill>
                <a:effectLst/>
                <a:latin typeface="Arial Black" panose="020B0A04020102020204" pitchFamily="34" charset="0"/>
                <a:ea typeface="Times New Roman" panose="02020603050405020304" pitchFamily="18" charset="0"/>
                <a:cs typeface="Arial" panose="020B0604020202020204" pitchFamily="34" charset="0"/>
              </a:rPr>
              <a:t>Деякі нюанси регулювання трудових відносин </a:t>
            </a:r>
            <a:r>
              <a:rPr lang="uk-UA" sz="4400" b="1" dirty="0">
                <a:solidFill>
                  <a:srgbClr val="000000"/>
                </a:solidFill>
                <a:effectLst/>
                <a:latin typeface="Arial Black" panose="020B0A04020102020204" pitchFamily="34" charset="0"/>
                <a:ea typeface="Times New Roman" panose="02020603050405020304" pitchFamily="18" charset="0"/>
              </a:rPr>
              <a:t>в умовах воєнного стану</a:t>
            </a:r>
            <a:r>
              <a:rPr lang="uk-UA" sz="4400" b="1" dirty="0">
                <a:solidFill>
                  <a:srgbClr val="000000"/>
                </a:solidFill>
                <a:latin typeface="Arial Black" panose="020B0A04020102020204" pitchFamily="34" charset="0"/>
                <a:ea typeface="Times New Roman" panose="02020603050405020304" pitchFamily="18" charset="0"/>
                <a:cs typeface="Arial" panose="020B0604020202020204" pitchFamily="34" charset="0"/>
              </a:rPr>
              <a:t> </a:t>
            </a:r>
            <a:r>
              <a:rPr lang="uk-UA" sz="4400" dirty="0">
                <a:solidFill>
                  <a:srgbClr val="000000"/>
                </a:solidFill>
                <a:effectLst/>
                <a:latin typeface="Arial Black" panose="020B0A04020102020204" pitchFamily="34" charset="0"/>
                <a:ea typeface="Times New Roman" panose="02020603050405020304" pitchFamily="18" charset="0"/>
                <a:cs typeface="Arial" panose="020B0604020202020204" pitchFamily="34" charset="0"/>
              </a:rPr>
              <a:t>у закладах освіти, охорони здоров’я, підприємствах-надавачах комунальних послуг. </a:t>
            </a:r>
          </a:p>
          <a:p>
            <a:pPr>
              <a:lnSpc>
                <a:spcPct val="100000"/>
              </a:lnSpc>
              <a:spcAft>
                <a:spcPts val="800"/>
              </a:spcAft>
            </a:pPr>
            <a:r>
              <a:rPr lang="uk-UA" sz="4400" dirty="0">
                <a:solidFill>
                  <a:srgbClr val="000000"/>
                </a:solidFill>
                <a:effectLst/>
                <a:latin typeface="Arial Black" panose="020B0A04020102020204" pitchFamily="34" charset="0"/>
                <a:ea typeface="Times New Roman" panose="02020603050405020304" pitchFamily="18" charset="0"/>
              </a:rPr>
              <a:t>Огляд судової практики.</a:t>
            </a:r>
            <a:endParaRPr lang="uk-UA" sz="4400" b="1" dirty="0">
              <a:solidFill>
                <a:srgbClr val="002060"/>
              </a:solidFill>
              <a:latin typeface="Arial Black" panose="020B0A04020102020204" pitchFamily="34" charset="0"/>
              <a:cs typeface="Arial" panose="020B0604020202020204" pitchFamily="34" charset="0"/>
            </a:endParaRPr>
          </a:p>
        </p:txBody>
      </p:sp>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729" y="9814351"/>
            <a:ext cx="4584526" cy="3267504"/>
          </a:xfrm>
          <a:prstGeom prst="rect">
            <a:avLst/>
          </a:prstGeom>
        </p:spPr>
      </p:pic>
      <p:pic>
        <p:nvPicPr>
          <p:cNvPr id="9" name="Рисунок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840435" y="11448103"/>
            <a:ext cx="5543566" cy="1309574"/>
          </a:xfrm>
          <a:prstGeom prst="rect">
            <a:avLst/>
          </a:prstGeom>
        </p:spPr>
      </p:pic>
      <p:cxnSp>
        <p:nvCxnSpPr>
          <p:cNvPr id="10" name="Прямая соединительная линия 9"/>
          <p:cNvCxnSpPr/>
          <p:nvPr/>
        </p:nvCxnSpPr>
        <p:spPr>
          <a:xfrm>
            <a:off x="5594959" y="12757676"/>
            <a:ext cx="18789042"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899564" y="11249891"/>
            <a:ext cx="9559636" cy="110836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uk-UA" dirty="0">
                <a:solidFill>
                  <a:schemeClr val="accent1">
                    <a:lumMod val="50000"/>
                  </a:schemeClr>
                </a:solidFill>
              </a:rPr>
              <a:t>КИЇВ, 202</a:t>
            </a:r>
            <a:r>
              <a:rPr lang="en-US" dirty="0">
                <a:solidFill>
                  <a:schemeClr val="accent1">
                    <a:lumMod val="50000"/>
                  </a:schemeClr>
                </a:solidFill>
              </a:rPr>
              <a:t>2</a:t>
            </a:r>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5729" y="465428"/>
            <a:ext cx="7240504" cy="2802075"/>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210549" y="465428"/>
            <a:ext cx="5885426" cy="2942714"/>
          </a:xfrm>
          <a:prstGeom prst="rect">
            <a:avLst/>
          </a:prstGeom>
        </p:spPr>
      </p:pic>
      <p:graphicFrame>
        <p:nvGraphicFramePr>
          <p:cNvPr id="6" name="Схема 5">
            <a:extLst>
              <a:ext uri="{FF2B5EF4-FFF2-40B4-BE49-F238E27FC236}">
                <a16:creationId xmlns:a16="http://schemas.microsoft.com/office/drawing/2014/main" id="{583CE95A-F8FD-24A2-CDE4-8C0EFD0961BF}"/>
              </a:ext>
            </a:extLst>
          </p:cNvPr>
          <p:cNvGraphicFramePr/>
          <p:nvPr>
            <p:extLst>
              <p:ext uri="{D42A27DB-BD31-4B8C-83A1-F6EECF244321}">
                <p14:modId xmlns:p14="http://schemas.microsoft.com/office/powerpoint/2010/main" val="2342895448"/>
              </p:ext>
            </p:extLst>
          </p:nvPr>
        </p:nvGraphicFramePr>
        <p:xfrm>
          <a:off x="4587438" y="9377433"/>
          <a:ext cx="16256000" cy="21203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1" name="Picture 9">
            <a:extLst>
              <a:ext uri="{FF2B5EF4-FFF2-40B4-BE49-F238E27FC236}">
                <a16:creationId xmlns:a16="http://schemas.microsoft.com/office/drawing/2014/main" id="{61DCD8D1-7763-2096-9859-042C527A66E0}"/>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874292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7300" dirty="0">
                <a:solidFill>
                  <a:schemeClr val="accent1">
                    <a:lumMod val="50000"/>
                  </a:schemeClr>
                </a:solidFill>
                <a:latin typeface="Arial" panose="020B0604020202020204" pitchFamily="34" charset="0"/>
                <a:cs typeface="Arial" panose="020B0604020202020204" pitchFamily="34" charset="0"/>
              </a:rPr>
              <a:t>Випробування ВПО при прийомі на роботу</a:t>
            </a:r>
            <a:endParaRPr lang="uk-UA" sz="73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0EF4F47F-8AE9-3AD2-3357-AECD7DBD95A1}"/>
              </a:ext>
            </a:extLst>
          </p:cNvPr>
          <p:cNvGraphicFramePr/>
          <p:nvPr>
            <p:extLst>
              <p:ext uri="{D42A27DB-BD31-4B8C-83A1-F6EECF244321}">
                <p14:modId xmlns:p14="http://schemas.microsoft.com/office/powerpoint/2010/main" val="3416939192"/>
              </p:ext>
            </p:extLst>
          </p:nvPr>
        </p:nvGraphicFramePr>
        <p:xfrm>
          <a:off x="2079811" y="4679576"/>
          <a:ext cx="19829929" cy="776343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685112065"/>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7300" dirty="0">
                <a:solidFill>
                  <a:schemeClr val="accent1">
                    <a:lumMod val="50000"/>
                  </a:schemeClr>
                </a:solidFill>
                <a:latin typeface="Arial" panose="020B0604020202020204" pitchFamily="34" charset="0"/>
                <a:cs typeface="Arial" panose="020B0604020202020204" pitchFamily="34" charset="0"/>
              </a:rPr>
              <a:t>Атестація медпрацівників під час воєнного стану</a:t>
            </a:r>
            <a:endParaRPr lang="uk-UA" sz="73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48CE442-F4BF-CDE7-F3D3-A736B6C33F26}"/>
              </a:ext>
            </a:extLst>
          </p:cNvPr>
          <p:cNvGraphicFramePr/>
          <p:nvPr>
            <p:extLst>
              <p:ext uri="{D42A27DB-BD31-4B8C-83A1-F6EECF244321}">
                <p14:modId xmlns:p14="http://schemas.microsoft.com/office/powerpoint/2010/main" val="2214695053"/>
              </p:ext>
            </p:extLst>
          </p:nvPr>
        </p:nvGraphicFramePr>
        <p:xfrm>
          <a:off x="1900518" y="4097904"/>
          <a:ext cx="21084987" cy="91582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983906401"/>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545017" y="2941682"/>
            <a:ext cx="19545399" cy="1980180"/>
          </a:xfrm>
        </p:spPr>
        <p:txBody>
          <a:bodyPr>
            <a:noAutofit/>
          </a:bodyPr>
          <a:lstStyle/>
          <a:p>
            <a:pPr algn="ctr"/>
            <a:r>
              <a:rPr lang="uk-UA" sz="6600" b="1" i="0" dirty="0">
                <a:solidFill>
                  <a:srgbClr val="0070C0"/>
                </a:solidFill>
                <a:effectLst/>
                <a:latin typeface="-apple-system"/>
              </a:rPr>
              <a:t>Повідомлення про наявність шкідливих умов праці</a:t>
            </a:r>
          </a:p>
        </p:txBody>
      </p:sp>
      <p:graphicFrame>
        <p:nvGraphicFramePr>
          <p:cNvPr id="3" name="Схема 2">
            <a:extLst>
              <a:ext uri="{FF2B5EF4-FFF2-40B4-BE49-F238E27FC236}">
                <a16:creationId xmlns:a16="http://schemas.microsoft.com/office/drawing/2014/main" id="{F610A885-7BA2-299A-F909-DB2C1CE2B04C}"/>
              </a:ext>
            </a:extLst>
          </p:cNvPr>
          <p:cNvGraphicFramePr/>
          <p:nvPr>
            <p:extLst>
              <p:ext uri="{D42A27DB-BD31-4B8C-83A1-F6EECF244321}">
                <p14:modId xmlns:p14="http://schemas.microsoft.com/office/powerpoint/2010/main" val="1428248401"/>
              </p:ext>
            </p:extLst>
          </p:nvPr>
        </p:nvGraphicFramePr>
        <p:xfrm>
          <a:off x="2026024" y="4858871"/>
          <a:ext cx="19740282" cy="740484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297026018"/>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77159" y="1795407"/>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7300" dirty="0">
                <a:solidFill>
                  <a:schemeClr val="accent1">
                    <a:lumMod val="50000"/>
                  </a:schemeClr>
                </a:solidFill>
                <a:latin typeface="Arial" panose="020B0604020202020204" pitchFamily="34" charset="0"/>
                <a:cs typeface="Arial" panose="020B0604020202020204" pitchFamily="34" charset="0"/>
              </a:rPr>
              <a:t>Стаття 41 КЗпП</a:t>
            </a:r>
            <a:endParaRPr lang="uk-UA" sz="73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A7F7813-0827-FF43-48AA-5C76AA27AB8D}"/>
              </a:ext>
            </a:extLst>
          </p:cNvPr>
          <p:cNvGraphicFramePr/>
          <p:nvPr>
            <p:extLst>
              <p:ext uri="{D42A27DB-BD31-4B8C-83A1-F6EECF244321}">
                <p14:modId xmlns:p14="http://schemas.microsoft.com/office/powerpoint/2010/main" val="566406523"/>
              </p:ext>
            </p:extLst>
          </p:nvPr>
        </p:nvGraphicFramePr>
        <p:xfrm>
          <a:off x="2008094" y="3775587"/>
          <a:ext cx="20116799" cy="94805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18849232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77159" y="1795407"/>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7300" dirty="0">
                <a:solidFill>
                  <a:schemeClr val="accent1">
                    <a:lumMod val="50000"/>
                  </a:schemeClr>
                </a:solidFill>
                <a:latin typeface="Arial" panose="020B0604020202020204" pitchFamily="34" charset="0"/>
                <a:cs typeface="Arial" panose="020B0604020202020204" pitchFamily="34" charset="0"/>
              </a:rPr>
              <a:t>Відпустки педагогам (працівникам та керівникам)</a:t>
            </a:r>
            <a:endParaRPr lang="uk-UA" sz="73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A7F7813-0827-FF43-48AA-5C76AA27AB8D}"/>
              </a:ext>
            </a:extLst>
          </p:cNvPr>
          <p:cNvGraphicFramePr/>
          <p:nvPr>
            <p:extLst>
              <p:ext uri="{D42A27DB-BD31-4B8C-83A1-F6EECF244321}">
                <p14:modId xmlns:p14="http://schemas.microsoft.com/office/powerpoint/2010/main" val="1833673748"/>
              </p:ext>
            </p:extLst>
          </p:nvPr>
        </p:nvGraphicFramePr>
        <p:xfrm>
          <a:off x="2008094" y="3775587"/>
          <a:ext cx="20116799" cy="94805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889090573"/>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77159" y="1795407"/>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7300" dirty="0">
                <a:solidFill>
                  <a:schemeClr val="accent1">
                    <a:lumMod val="50000"/>
                  </a:schemeClr>
                </a:solidFill>
                <a:latin typeface="Arial" panose="020B0604020202020204" pitchFamily="34" charset="0"/>
                <a:cs typeface="Arial" panose="020B0604020202020204" pitchFamily="34" charset="0"/>
              </a:rPr>
              <a:t>Відпустки педагогам (працівникам та керівникам)</a:t>
            </a:r>
            <a:endParaRPr lang="uk-UA" sz="73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A7F7813-0827-FF43-48AA-5C76AA27AB8D}"/>
              </a:ext>
            </a:extLst>
          </p:cNvPr>
          <p:cNvGraphicFramePr/>
          <p:nvPr>
            <p:extLst>
              <p:ext uri="{D42A27DB-BD31-4B8C-83A1-F6EECF244321}">
                <p14:modId xmlns:p14="http://schemas.microsoft.com/office/powerpoint/2010/main" val="2178905725"/>
              </p:ext>
            </p:extLst>
          </p:nvPr>
        </p:nvGraphicFramePr>
        <p:xfrm>
          <a:off x="2008094" y="3775587"/>
          <a:ext cx="20116799" cy="94805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046123640"/>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77159" y="2400040"/>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7300" dirty="0">
                <a:solidFill>
                  <a:schemeClr val="accent1">
                    <a:lumMod val="50000"/>
                  </a:schemeClr>
                </a:solidFill>
                <a:latin typeface="Arial" panose="020B0604020202020204" pitchFamily="34" charset="0"/>
                <a:cs typeface="Arial" panose="020B0604020202020204" pitchFamily="34" charset="0"/>
              </a:rPr>
              <a:t>Відпустки педагогам (працівникам та керівникам)</a:t>
            </a:r>
            <a:endParaRPr lang="uk-UA" sz="73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A7F7813-0827-FF43-48AA-5C76AA27AB8D}"/>
              </a:ext>
            </a:extLst>
          </p:cNvPr>
          <p:cNvGraphicFramePr/>
          <p:nvPr>
            <p:extLst>
              <p:ext uri="{D42A27DB-BD31-4B8C-83A1-F6EECF244321}">
                <p14:modId xmlns:p14="http://schemas.microsoft.com/office/powerpoint/2010/main" val="2456156806"/>
              </p:ext>
            </p:extLst>
          </p:nvPr>
        </p:nvGraphicFramePr>
        <p:xfrm>
          <a:off x="2008094" y="3775587"/>
          <a:ext cx="20116799" cy="94805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516895821"/>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77159" y="1795407"/>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7300" dirty="0">
                <a:solidFill>
                  <a:schemeClr val="accent1">
                    <a:lumMod val="50000"/>
                  </a:schemeClr>
                </a:solidFill>
                <a:latin typeface="Arial" panose="020B0604020202020204" pitchFamily="34" charset="0"/>
                <a:cs typeface="Arial" panose="020B0604020202020204" pitchFamily="34" charset="0"/>
              </a:rPr>
              <a:t>Лист МОН від 22.06.2022</a:t>
            </a:r>
            <a:endParaRPr lang="uk-UA" sz="73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A7F7813-0827-FF43-48AA-5C76AA27AB8D}"/>
              </a:ext>
            </a:extLst>
          </p:cNvPr>
          <p:cNvGraphicFramePr/>
          <p:nvPr>
            <p:extLst>
              <p:ext uri="{D42A27DB-BD31-4B8C-83A1-F6EECF244321}">
                <p14:modId xmlns:p14="http://schemas.microsoft.com/office/powerpoint/2010/main" val="3846792653"/>
              </p:ext>
            </p:extLst>
          </p:nvPr>
        </p:nvGraphicFramePr>
        <p:xfrm>
          <a:off x="2008094" y="3775587"/>
          <a:ext cx="20116799" cy="94805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1161793817"/>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77159" y="1795407"/>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7300" dirty="0">
                <a:solidFill>
                  <a:schemeClr val="accent1">
                    <a:lumMod val="50000"/>
                  </a:schemeClr>
                </a:solidFill>
                <a:latin typeface="Arial" panose="020B0604020202020204" pitchFamily="34" charset="0"/>
                <a:cs typeface="Arial" panose="020B0604020202020204" pitchFamily="34" charset="0"/>
              </a:rPr>
              <a:t>Лист МОН від 22.06.2022</a:t>
            </a:r>
            <a:endParaRPr lang="uk-UA" sz="73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A7F7813-0827-FF43-48AA-5C76AA27AB8D}"/>
              </a:ext>
            </a:extLst>
          </p:cNvPr>
          <p:cNvGraphicFramePr/>
          <p:nvPr>
            <p:extLst>
              <p:ext uri="{D42A27DB-BD31-4B8C-83A1-F6EECF244321}">
                <p14:modId xmlns:p14="http://schemas.microsoft.com/office/powerpoint/2010/main" val="2035265363"/>
              </p:ext>
            </p:extLst>
          </p:nvPr>
        </p:nvGraphicFramePr>
        <p:xfrm>
          <a:off x="2008094" y="3775587"/>
          <a:ext cx="20116799" cy="94805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890398568"/>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EB8FCEB-F57B-3219-B55F-DBBBF8EAC40C}"/>
              </a:ext>
            </a:extLst>
          </p:cNvPr>
          <p:cNvSpPr txBox="1"/>
          <p:nvPr/>
        </p:nvSpPr>
        <p:spPr>
          <a:xfrm>
            <a:off x="1941860" y="2863683"/>
            <a:ext cx="10578353"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Огляд судової практики</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E758F79-2656-78D0-257F-766AB96ECEDB}"/>
              </a:ext>
            </a:extLst>
          </p:cNvPr>
          <p:cNvGraphicFramePr/>
          <p:nvPr>
            <p:extLst>
              <p:ext uri="{D42A27DB-BD31-4B8C-83A1-F6EECF244321}">
                <p14:modId xmlns:p14="http://schemas.microsoft.com/office/powerpoint/2010/main" val="109159481"/>
              </p:ext>
            </p:extLst>
          </p:nvPr>
        </p:nvGraphicFramePr>
        <p:xfrm>
          <a:off x="1380565" y="4303060"/>
          <a:ext cx="21730447" cy="78530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330738433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168289"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6700" dirty="0">
                <a:solidFill>
                  <a:schemeClr val="accent1">
                    <a:lumMod val="50000"/>
                  </a:schemeClr>
                </a:solidFill>
                <a:latin typeface="Arial" panose="020B0604020202020204" pitchFamily="34" charset="0"/>
                <a:cs typeface="Arial" panose="020B0604020202020204" pitchFamily="34" charset="0"/>
              </a:rPr>
              <a:t>Робота з нефіксованим робочим часом</a:t>
            </a:r>
            <a:endParaRPr lang="uk-UA" sz="67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A788D11A-46F0-B864-9F6C-9C3B9AD6DD2E}"/>
              </a:ext>
            </a:extLst>
          </p:cNvPr>
          <p:cNvGraphicFramePr/>
          <p:nvPr>
            <p:extLst>
              <p:ext uri="{D42A27DB-BD31-4B8C-83A1-F6EECF244321}">
                <p14:modId xmlns:p14="http://schemas.microsoft.com/office/powerpoint/2010/main" val="2485531727"/>
              </p:ext>
            </p:extLst>
          </p:nvPr>
        </p:nvGraphicFramePr>
        <p:xfrm>
          <a:off x="806825" y="4410635"/>
          <a:ext cx="22268328" cy="867783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4145220979"/>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99E52BE-758C-2287-CC53-CB9FB0D4DC3C}"/>
              </a:ext>
            </a:extLst>
          </p:cNvPr>
          <p:cNvSpPr txBox="1"/>
          <p:nvPr/>
        </p:nvSpPr>
        <p:spPr>
          <a:xfrm>
            <a:off x="1109472" y="3107813"/>
            <a:ext cx="10177466"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uk-UA" sz="5400" dirty="0">
                <a:solidFill>
                  <a:srgbClr val="002060"/>
                </a:solidFill>
              </a:rPr>
              <a:t>Обґрунтування р</a:t>
            </a: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C7D7E59-FF20-31EF-3018-5A8BEC904F6E}"/>
              </a:ext>
            </a:extLst>
          </p:cNvPr>
          <p:cNvGraphicFramePr/>
          <p:nvPr>
            <p:extLst>
              <p:ext uri="{D42A27DB-BD31-4B8C-83A1-F6EECF244321}">
                <p14:modId xmlns:p14="http://schemas.microsoft.com/office/powerpoint/2010/main" val="2031396812"/>
              </p:ext>
            </p:extLst>
          </p:nvPr>
        </p:nvGraphicFramePr>
        <p:xfrm>
          <a:off x="1109472" y="4320569"/>
          <a:ext cx="21929822" cy="86423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004110881"/>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1EB2219-C4E7-3EF2-B12B-62CF655E172D}"/>
              </a:ext>
            </a:extLst>
          </p:cNvPr>
          <p:cNvSpPr txBox="1"/>
          <p:nvPr/>
        </p:nvSpPr>
        <p:spPr>
          <a:xfrm>
            <a:off x="2567111" y="3320883"/>
            <a:ext cx="4744889"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Р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0AF77B1C-563B-0737-BA0C-8053C747A7CA}"/>
              </a:ext>
            </a:extLst>
          </p:cNvPr>
          <p:cNvGraphicFramePr/>
          <p:nvPr>
            <p:extLst>
              <p:ext uri="{D42A27DB-BD31-4B8C-83A1-F6EECF244321}">
                <p14:modId xmlns:p14="http://schemas.microsoft.com/office/powerpoint/2010/main" val="3421201417"/>
              </p:ext>
            </p:extLst>
          </p:nvPr>
        </p:nvGraphicFramePr>
        <p:xfrm>
          <a:off x="1541929" y="4533637"/>
          <a:ext cx="21461505" cy="85548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106581411"/>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EB8FCEB-F57B-3219-B55F-DBBBF8EAC40C}"/>
              </a:ext>
            </a:extLst>
          </p:cNvPr>
          <p:cNvSpPr txBox="1"/>
          <p:nvPr/>
        </p:nvSpPr>
        <p:spPr>
          <a:xfrm>
            <a:off x="1941860" y="2863683"/>
            <a:ext cx="10578353"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Огляд судової практики</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E758F79-2656-78D0-257F-766AB96ECEDB}"/>
              </a:ext>
            </a:extLst>
          </p:cNvPr>
          <p:cNvGraphicFramePr/>
          <p:nvPr>
            <p:extLst>
              <p:ext uri="{D42A27DB-BD31-4B8C-83A1-F6EECF244321}">
                <p14:modId xmlns:p14="http://schemas.microsoft.com/office/powerpoint/2010/main" val="464379237"/>
              </p:ext>
            </p:extLst>
          </p:nvPr>
        </p:nvGraphicFramePr>
        <p:xfrm>
          <a:off x="1380565" y="4303060"/>
          <a:ext cx="21730447" cy="78530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400473883"/>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99E52BE-758C-2287-CC53-CB9FB0D4DC3C}"/>
              </a:ext>
            </a:extLst>
          </p:cNvPr>
          <p:cNvSpPr txBox="1"/>
          <p:nvPr/>
        </p:nvSpPr>
        <p:spPr>
          <a:xfrm>
            <a:off x="1109472" y="3107813"/>
            <a:ext cx="10177466"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uk-UA" sz="5400" dirty="0">
                <a:solidFill>
                  <a:srgbClr val="002060"/>
                </a:solidFill>
              </a:rPr>
              <a:t>Обґрунтування р</a:t>
            </a: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C7D7E59-FF20-31EF-3018-5A8BEC904F6E}"/>
              </a:ext>
            </a:extLst>
          </p:cNvPr>
          <p:cNvGraphicFramePr/>
          <p:nvPr>
            <p:extLst>
              <p:ext uri="{D42A27DB-BD31-4B8C-83A1-F6EECF244321}">
                <p14:modId xmlns:p14="http://schemas.microsoft.com/office/powerpoint/2010/main" val="2622056699"/>
              </p:ext>
            </p:extLst>
          </p:nvPr>
        </p:nvGraphicFramePr>
        <p:xfrm>
          <a:off x="1109472" y="4320569"/>
          <a:ext cx="21929822" cy="86423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362577119"/>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1EB2219-C4E7-3EF2-B12B-62CF655E172D}"/>
              </a:ext>
            </a:extLst>
          </p:cNvPr>
          <p:cNvSpPr txBox="1"/>
          <p:nvPr/>
        </p:nvSpPr>
        <p:spPr>
          <a:xfrm>
            <a:off x="2567111" y="3320883"/>
            <a:ext cx="4744889"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Р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0AF77B1C-563B-0737-BA0C-8053C747A7CA}"/>
              </a:ext>
            </a:extLst>
          </p:cNvPr>
          <p:cNvGraphicFramePr/>
          <p:nvPr>
            <p:extLst>
              <p:ext uri="{D42A27DB-BD31-4B8C-83A1-F6EECF244321}">
                <p14:modId xmlns:p14="http://schemas.microsoft.com/office/powerpoint/2010/main" val="2341385385"/>
              </p:ext>
            </p:extLst>
          </p:nvPr>
        </p:nvGraphicFramePr>
        <p:xfrm>
          <a:off x="1541929" y="4533637"/>
          <a:ext cx="21461505" cy="85548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932874557"/>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EB8FCEB-F57B-3219-B55F-DBBBF8EAC40C}"/>
              </a:ext>
            </a:extLst>
          </p:cNvPr>
          <p:cNvSpPr txBox="1"/>
          <p:nvPr/>
        </p:nvSpPr>
        <p:spPr>
          <a:xfrm>
            <a:off x="1941860" y="2863683"/>
            <a:ext cx="10578353"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Огляд судової практики</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E758F79-2656-78D0-257F-766AB96ECEDB}"/>
              </a:ext>
            </a:extLst>
          </p:cNvPr>
          <p:cNvGraphicFramePr/>
          <p:nvPr>
            <p:extLst>
              <p:ext uri="{D42A27DB-BD31-4B8C-83A1-F6EECF244321}">
                <p14:modId xmlns:p14="http://schemas.microsoft.com/office/powerpoint/2010/main" val="3854497157"/>
              </p:ext>
            </p:extLst>
          </p:nvPr>
        </p:nvGraphicFramePr>
        <p:xfrm>
          <a:off x="1380565" y="4303060"/>
          <a:ext cx="21730447" cy="78530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3021504718"/>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99E52BE-758C-2287-CC53-CB9FB0D4DC3C}"/>
              </a:ext>
            </a:extLst>
          </p:cNvPr>
          <p:cNvSpPr txBox="1"/>
          <p:nvPr/>
        </p:nvSpPr>
        <p:spPr>
          <a:xfrm>
            <a:off x="1109472" y="3107813"/>
            <a:ext cx="10177466"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uk-UA" sz="5400" dirty="0">
                <a:solidFill>
                  <a:srgbClr val="002060"/>
                </a:solidFill>
              </a:rPr>
              <a:t>Обґрунтування р</a:t>
            </a: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C7D7E59-FF20-31EF-3018-5A8BEC904F6E}"/>
              </a:ext>
            </a:extLst>
          </p:cNvPr>
          <p:cNvGraphicFramePr/>
          <p:nvPr>
            <p:extLst>
              <p:ext uri="{D42A27DB-BD31-4B8C-83A1-F6EECF244321}">
                <p14:modId xmlns:p14="http://schemas.microsoft.com/office/powerpoint/2010/main" val="1560440837"/>
              </p:ext>
            </p:extLst>
          </p:nvPr>
        </p:nvGraphicFramePr>
        <p:xfrm>
          <a:off x="1109472" y="4320569"/>
          <a:ext cx="21929822" cy="86423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3821969521"/>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1EB2219-C4E7-3EF2-B12B-62CF655E172D}"/>
              </a:ext>
            </a:extLst>
          </p:cNvPr>
          <p:cNvSpPr txBox="1"/>
          <p:nvPr/>
        </p:nvSpPr>
        <p:spPr>
          <a:xfrm>
            <a:off x="2567111" y="3320883"/>
            <a:ext cx="4744889"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Р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0AF77B1C-563B-0737-BA0C-8053C747A7CA}"/>
              </a:ext>
            </a:extLst>
          </p:cNvPr>
          <p:cNvGraphicFramePr/>
          <p:nvPr>
            <p:extLst>
              <p:ext uri="{D42A27DB-BD31-4B8C-83A1-F6EECF244321}">
                <p14:modId xmlns:p14="http://schemas.microsoft.com/office/powerpoint/2010/main" val="50050282"/>
              </p:ext>
            </p:extLst>
          </p:nvPr>
        </p:nvGraphicFramePr>
        <p:xfrm>
          <a:off x="1541929" y="4533637"/>
          <a:ext cx="21461505" cy="85548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4155068924"/>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EB8FCEB-F57B-3219-B55F-DBBBF8EAC40C}"/>
              </a:ext>
            </a:extLst>
          </p:cNvPr>
          <p:cNvSpPr txBox="1"/>
          <p:nvPr/>
        </p:nvSpPr>
        <p:spPr>
          <a:xfrm>
            <a:off x="1941860" y="2863683"/>
            <a:ext cx="10578353"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Огляд судової практики</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E758F79-2656-78D0-257F-766AB96ECEDB}"/>
              </a:ext>
            </a:extLst>
          </p:cNvPr>
          <p:cNvGraphicFramePr/>
          <p:nvPr>
            <p:extLst>
              <p:ext uri="{D42A27DB-BD31-4B8C-83A1-F6EECF244321}">
                <p14:modId xmlns:p14="http://schemas.microsoft.com/office/powerpoint/2010/main" val="3592676015"/>
              </p:ext>
            </p:extLst>
          </p:nvPr>
        </p:nvGraphicFramePr>
        <p:xfrm>
          <a:off x="1380565" y="4303060"/>
          <a:ext cx="21730447" cy="78530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3349089880"/>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99E52BE-758C-2287-CC53-CB9FB0D4DC3C}"/>
              </a:ext>
            </a:extLst>
          </p:cNvPr>
          <p:cNvSpPr txBox="1"/>
          <p:nvPr/>
        </p:nvSpPr>
        <p:spPr>
          <a:xfrm>
            <a:off x="1109472" y="3107813"/>
            <a:ext cx="10177466"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uk-UA" sz="5400" dirty="0">
                <a:solidFill>
                  <a:srgbClr val="002060"/>
                </a:solidFill>
              </a:rPr>
              <a:t>Обґрунтування р</a:t>
            </a: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C7D7E59-FF20-31EF-3018-5A8BEC904F6E}"/>
              </a:ext>
            </a:extLst>
          </p:cNvPr>
          <p:cNvGraphicFramePr/>
          <p:nvPr>
            <p:extLst>
              <p:ext uri="{D42A27DB-BD31-4B8C-83A1-F6EECF244321}">
                <p14:modId xmlns:p14="http://schemas.microsoft.com/office/powerpoint/2010/main" val="2547654884"/>
              </p:ext>
            </p:extLst>
          </p:nvPr>
        </p:nvGraphicFramePr>
        <p:xfrm>
          <a:off x="1109472" y="4320569"/>
          <a:ext cx="21929822" cy="86423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12194055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263788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Складові договору</a:t>
            </a:r>
            <a:endParaRPr lang="uk-UA" sz="44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2DB4A73-EA56-7100-3D4C-4F953181CA6A}"/>
              </a:ext>
            </a:extLst>
          </p:cNvPr>
          <p:cNvGraphicFramePr/>
          <p:nvPr>
            <p:extLst>
              <p:ext uri="{D42A27DB-BD31-4B8C-83A1-F6EECF244321}">
                <p14:modId xmlns:p14="http://schemas.microsoft.com/office/powerpoint/2010/main" val="1427548522"/>
              </p:ext>
            </p:extLst>
          </p:nvPr>
        </p:nvGraphicFramePr>
        <p:xfrm>
          <a:off x="1506071" y="4618063"/>
          <a:ext cx="21569081" cy="86380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24391" y="233562"/>
            <a:ext cx="6348553" cy="3175618"/>
          </a:xfrm>
          <a:prstGeom prst="rect">
            <a:avLst/>
          </a:prstGeom>
        </p:spPr>
      </p:pic>
    </p:spTree>
    <p:extLst>
      <p:ext uri="{BB962C8B-B14F-4D97-AF65-F5344CB8AC3E}">
        <p14:creationId xmlns:p14="http://schemas.microsoft.com/office/powerpoint/2010/main" val="3797789240"/>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1EB2219-C4E7-3EF2-B12B-62CF655E172D}"/>
              </a:ext>
            </a:extLst>
          </p:cNvPr>
          <p:cNvSpPr txBox="1"/>
          <p:nvPr/>
        </p:nvSpPr>
        <p:spPr>
          <a:xfrm>
            <a:off x="2567111" y="3320883"/>
            <a:ext cx="4744889"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Р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0AF77B1C-563B-0737-BA0C-8053C747A7CA}"/>
              </a:ext>
            </a:extLst>
          </p:cNvPr>
          <p:cNvGraphicFramePr/>
          <p:nvPr>
            <p:extLst>
              <p:ext uri="{D42A27DB-BD31-4B8C-83A1-F6EECF244321}">
                <p14:modId xmlns:p14="http://schemas.microsoft.com/office/powerpoint/2010/main" val="1749118409"/>
              </p:ext>
            </p:extLst>
          </p:nvPr>
        </p:nvGraphicFramePr>
        <p:xfrm>
          <a:off x="1541929" y="4533637"/>
          <a:ext cx="21461505" cy="85548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3940923132"/>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EB8FCEB-F57B-3219-B55F-DBBBF8EAC40C}"/>
              </a:ext>
            </a:extLst>
          </p:cNvPr>
          <p:cNvSpPr txBox="1"/>
          <p:nvPr/>
        </p:nvSpPr>
        <p:spPr>
          <a:xfrm>
            <a:off x="1941860" y="2863683"/>
            <a:ext cx="10578353"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Огляд судової практики</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E758F79-2656-78D0-257F-766AB96ECEDB}"/>
              </a:ext>
            </a:extLst>
          </p:cNvPr>
          <p:cNvGraphicFramePr/>
          <p:nvPr>
            <p:extLst>
              <p:ext uri="{D42A27DB-BD31-4B8C-83A1-F6EECF244321}">
                <p14:modId xmlns:p14="http://schemas.microsoft.com/office/powerpoint/2010/main" val="1864746629"/>
              </p:ext>
            </p:extLst>
          </p:nvPr>
        </p:nvGraphicFramePr>
        <p:xfrm>
          <a:off x="1380565" y="4303060"/>
          <a:ext cx="21730447" cy="78530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592702335"/>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99E52BE-758C-2287-CC53-CB9FB0D4DC3C}"/>
              </a:ext>
            </a:extLst>
          </p:cNvPr>
          <p:cNvSpPr txBox="1"/>
          <p:nvPr/>
        </p:nvSpPr>
        <p:spPr>
          <a:xfrm>
            <a:off x="1109472" y="3107813"/>
            <a:ext cx="10177466"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uk-UA" sz="5400" dirty="0">
                <a:solidFill>
                  <a:srgbClr val="002060"/>
                </a:solidFill>
              </a:rPr>
              <a:t>Обґрунтування р</a:t>
            </a: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5" name="Схема 4">
            <a:extLst>
              <a:ext uri="{FF2B5EF4-FFF2-40B4-BE49-F238E27FC236}">
                <a16:creationId xmlns:a16="http://schemas.microsoft.com/office/drawing/2014/main" id="{97F4113E-4B69-9E76-F874-C98D1B6FF506}"/>
              </a:ext>
            </a:extLst>
          </p:cNvPr>
          <p:cNvGraphicFramePr/>
          <p:nvPr>
            <p:extLst>
              <p:ext uri="{D42A27DB-BD31-4B8C-83A1-F6EECF244321}">
                <p14:modId xmlns:p14="http://schemas.microsoft.com/office/powerpoint/2010/main" val="3487919139"/>
              </p:ext>
            </p:extLst>
          </p:nvPr>
        </p:nvGraphicFramePr>
        <p:xfrm>
          <a:off x="1272988" y="4518212"/>
          <a:ext cx="21371859" cy="77584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1875348321"/>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99E52BE-758C-2287-CC53-CB9FB0D4DC3C}"/>
              </a:ext>
            </a:extLst>
          </p:cNvPr>
          <p:cNvSpPr txBox="1"/>
          <p:nvPr/>
        </p:nvSpPr>
        <p:spPr>
          <a:xfrm>
            <a:off x="1109472" y="3107813"/>
            <a:ext cx="10177466"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uk-UA" sz="5400" dirty="0">
                <a:solidFill>
                  <a:srgbClr val="002060"/>
                </a:solidFill>
              </a:rPr>
              <a:t>Обґрунтування р</a:t>
            </a: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5" name="Схема 4">
            <a:extLst>
              <a:ext uri="{FF2B5EF4-FFF2-40B4-BE49-F238E27FC236}">
                <a16:creationId xmlns:a16="http://schemas.microsoft.com/office/drawing/2014/main" id="{97F4113E-4B69-9E76-F874-C98D1B6FF506}"/>
              </a:ext>
            </a:extLst>
          </p:cNvPr>
          <p:cNvGraphicFramePr/>
          <p:nvPr>
            <p:extLst>
              <p:ext uri="{D42A27DB-BD31-4B8C-83A1-F6EECF244321}">
                <p14:modId xmlns:p14="http://schemas.microsoft.com/office/powerpoint/2010/main" val="3775610408"/>
              </p:ext>
            </p:extLst>
          </p:nvPr>
        </p:nvGraphicFramePr>
        <p:xfrm>
          <a:off x="1272988" y="4518212"/>
          <a:ext cx="21371859" cy="77584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174149414"/>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1EB2219-C4E7-3EF2-B12B-62CF655E172D}"/>
              </a:ext>
            </a:extLst>
          </p:cNvPr>
          <p:cNvSpPr txBox="1"/>
          <p:nvPr/>
        </p:nvSpPr>
        <p:spPr>
          <a:xfrm>
            <a:off x="2567111" y="3320883"/>
            <a:ext cx="4744889"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Р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0AF77B1C-563B-0737-BA0C-8053C747A7CA}"/>
              </a:ext>
            </a:extLst>
          </p:cNvPr>
          <p:cNvGraphicFramePr/>
          <p:nvPr>
            <p:extLst>
              <p:ext uri="{D42A27DB-BD31-4B8C-83A1-F6EECF244321}">
                <p14:modId xmlns:p14="http://schemas.microsoft.com/office/powerpoint/2010/main" val="2009929216"/>
              </p:ext>
            </p:extLst>
          </p:nvPr>
        </p:nvGraphicFramePr>
        <p:xfrm>
          <a:off x="1541929" y="4533637"/>
          <a:ext cx="21461505" cy="85548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529774987"/>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EB8FCEB-F57B-3219-B55F-DBBBF8EAC40C}"/>
              </a:ext>
            </a:extLst>
          </p:cNvPr>
          <p:cNvSpPr txBox="1"/>
          <p:nvPr/>
        </p:nvSpPr>
        <p:spPr>
          <a:xfrm>
            <a:off x="1941860" y="2863683"/>
            <a:ext cx="10578353"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Огляд судової практики</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E758F79-2656-78D0-257F-766AB96ECEDB}"/>
              </a:ext>
            </a:extLst>
          </p:cNvPr>
          <p:cNvGraphicFramePr/>
          <p:nvPr>
            <p:extLst>
              <p:ext uri="{D42A27DB-BD31-4B8C-83A1-F6EECF244321}">
                <p14:modId xmlns:p14="http://schemas.microsoft.com/office/powerpoint/2010/main" val="1936675862"/>
              </p:ext>
            </p:extLst>
          </p:nvPr>
        </p:nvGraphicFramePr>
        <p:xfrm>
          <a:off x="1380565" y="4303060"/>
          <a:ext cx="21730447" cy="78530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716651302"/>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99E52BE-758C-2287-CC53-CB9FB0D4DC3C}"/>
              </a:ext>
            </a:extLst>
          </p:cNvPr>
          <p:cNvSpPr txBox="1"/>
          <p:nvPr/>
        </p:nvSpPr>
        <p:spPr>
          <a:xfrm>
            <a:off x="1109472" y="3107813"/>
            <a:ext cx="10177466"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uk-UA" sz="5400" dirty="0">
                <a:solidFill>
                  <a:srgbClr val="002060"/>
                </a:solidFill>
              </a:rPr>
              <a:t>Обґрунтування р</a:t>
            </a: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C7D7E59-FF20-31EF-3018-5A8BEC904F6E}"/>
              </a:ext>
            </a:extLst>
          </p:cNvPr>
          <p:cNvGraphicFramePr/>
          <p:nvPr>
            <p:extLst>
              <p:ext uri="{D42A27DB-BD31-4B8C-83A1-F6EECF244321}">
                <p14:modId xmlns:p14="http://schemas.microsoft.com/office/powerpoint/2010/main" val="2771006511"/>
              </p:ext>
            </p:extLst>
          </p:nvPr>
        </p:nvGraphicFramePr>
        <p:xfrm>
          <a:off x="1109472" y="4320569"/>
          <a:ext cx="21929822" cy="86423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1850655912"/>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1EB2219-C4E7-3EF2-B12B-62CF655E172D}"/>
              </a:ext>
            </a:extLst>
          </p:cNvPr>
          <p:cNvSpPr txBox="1"/>
          <p:nvPr/>
        </p:nvSpPr>
        <p:spPr>
          <a:xfrm>
            <a:off x="2567111" y="3320883"/>
            <a:ext cx="4744889"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Р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0AF77B1C-563B-0737-BA0C-8053C747A7CA}"/>
              </a:ext>
            </a:extLst>
          </p:cNvPr>
          <p:cNvGraphicFramePr/>
          <p:nvPr>
            <p:extLst>
              <p:ext uri="{D42A27DB-BD31-4B8C-83A1-F6EECF244321}">
                <p14:modId xmlns:p14="http://schemas.microsoft.com/office/powerpoint/2010/main" val="736442769"/>
              </p:ext>
            </p:extLst>
          </p:nvPr>
        </p:nvGraphicFramePr>
        <p:xfrm>
          <a:off x="1541929" y="4533637"/>
          <a:ext cx="21461505" cy="85548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1973609442"/>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EB8FCEB-F57B-3219-B55F-DBBBF8EAC40C}"/>
              </a:ext>
            </a:extLst>
          </p:cNvPr>
          <p:cNvSpPr txBox="1"/>
          <p:nvPr/>
        </p:nvSpPr>
        <p:spPr>
          <a:xfrm>
            <a:off x="1941860" y="2863683"/>
            <a:ext cx="10578353"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Огляд судової практики</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E758F79-2656-78D0-257F-766AB96ECEDB}"/>
              </a:ext>
            </a:extLst>
          </p:cNvPr>
          <p:cNvGraphicFramePr/>
          <p:nvPr>
            <p:extLst>
              <p:ext uri="{D42A27DB-BD31-4B8C-83A1-F6EECF244321}">
                <p14:modId xmlns:p14="http://schemas.microsoft.com/office/powerpoint/2010/main" val="920633244"/>
              </p:ext>
            </p:extLst>
          </p:nvPr>
        </p:nvGraphicFramePr>
        <p:xfrm>
          <a:off x="1380565" y="4303060"/>
          <a:ext cx="21730447" cy="78530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3092188496"/>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99E52BE-758C-2287-CC53-CB9FB0D4DC3C}"/>
              </a:ext>
            </a:extLst>
          </p:cNvPr>
          <p:cNvSpPr txBox="1"/>
          <p:nvPr/>
        </p:nvSpPr>
        <p:spPr>
          <a:xfrm>
            <a:off x="1109472" y="3107813"/>
            <a:ext cx="10177466"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uk-UA" sz="5400" dirty="0">
                <a:solidFill>
                  <a:srgbClr val="002060"/>
                </a:solidFill>
              </a:rPr>
              <a:t>Обґрунтування р</a:t>
            </a: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C7D7E59-FF20-31EF-3018-5A8BEC904F6E}"/>
              </a:ext>
            </a:extLst>
          </p:cNvPr>
          <p:cNvGraphicFramePr/>
          <p:nvPr>
            <p:extLst>
              <p:ext uri="{D42A27DB-BD31-4B8C-83A1-F6EECF244321}">
                <p14:modId xmlns:p14="http://schemas.microsoft.com/office/powerpoint/2010/main" val="2148354480"/>
              </p:ext>
            </p:extLst>
          </p:nvPr>
        </p:nvGraphicFramePr>
        <p:xfrm>
          <a:off x="1109472" y="4320569"/>
          <a:ext cx="21929822" cy="86423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3046471718"/>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263788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Складові договору</a:t>
            </a:r>
            <a:endParaRPr lang="uk-UA" sz="44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2DB4A73-EA56-7100-3D4C-4F953181CA6A}"/>
              </a:ext>
            </a:extLst>
          </p:cNvPr>
          <p:cNvGraphicFramePr/>
          <p:nvPr>
            <p:extLst>
              <p:ext uri="{D42A27DB-BD31-4B8C-83A1-F6EECF244321}">
                <p14:modId xmlns:p14="http://schemas.microsoft.com/office/powerpoint/2010/main" val="1842201078"/>
              </p:ext>
            </p:extLst>
          </p:nvPr>
        </p:nvGraphicFramePr>
        <p:xfrm>
          <a:off x="1506071" y="5002306"/>
          <a:ext cx="22172481" cy="693868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532625635"/>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99E52BE-758C-2287-CC53-CB9FB0D4DC3C}"/>
              </a:ext>
            </a:extLst>
          </p:cNvPr>
          <p:cNvSpPr txBox="1"/>
          <p:nvPr/>
        </p:nvSpPr>
        <p:spPr>
          <a:xfrm>
            <a:off x="1109472" y="3107813"/>
            <a:ext cx="10177466"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uk-UA" sz="5400" dirty="0">
                <a:solidFill>
                  <a:srgbClr val="002060"/>
                </a:solidFill>
              </a:rPr>
              <a:t>Обґрунтування р</a:t>
            </a: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C7D7E59-FF20-31EF-3018-5A8BEC904F6E}"/>
              </a:ext>
            </a:extLst>
          </p:cNvPr>
          <p:cNvGraphicFramePr/>
          <p:nvPr>
            <p:extLst>
              <p:ext uri="{D42A27DB-BD31-4B8C-83A1-F6EECF244321}">
                <p14:modId xmlns:p14="http://schemas.microsoft.com/office/powerpoint/2010/main" val="1693027854"/>
              </p:ext>
            </p:extLst>
          </p:nvPr>
        </p:nvGraphicFramePr>
        <p:xfrm>
          <a:off x="1109472" y="4320569"/>
          <a:ext cx="21929822" cy="86423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2341579969"/>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1EB2219-C4E7-3EF2-B12B-62CF655E172D}"/>
              </a:ext>
            </a:extLst>
          </p:cNvPr>
          <p:cNvSpPr txBox="1"/>
          <p:nvPr/>
        </p:nvSpPr>
        <p:spPr>
          <a:xfrm>
            <a:off x="2567111" y="3320883"/>
            <a:ext cx="4744889"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Р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0AF77B1C-563B-0737-BA0C-8053C747A7CA}"/>
              </a:ext>
            </a:extLst>
          </p:cNvPr>
          <p:cNvGraphicFramePr/>
          <p:nvPr>
            <p:extLst>
              <p:ext uri="{D42A27DB-BD31-4B8C-83A1-F6EECF244321}">
                <p14:modId xmlns:p14="http://schemas.microsoft.com/office/powerpoint/2010/main" val="55925714"/>
              </p:ext>
            </p:extLst>
          </p:nvPr>
        </p:nvGraphicFramePr>
        <p:xfrm>
          <a:off x="1541929" y="4533637"/>
          <a:ext cx="21461505" cy="85548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3496429740"/>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EB8FCEB-F57B-3219-B55F-DBBBF8EAC40C}"/>
              </a:ext>
            </a:extLst>
          </p:cNvPr>
          <p:cNvSpPr txBox="1"/>
          <p:nvPr/>
        </p:nvSpPr>
        <p:spPr>
          <a:xfrm>
            <a:off x="1941860" y="2863683"/>
            <a:ext cx="10578353"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Огляд судової практики</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E758F79-2656-78D0-257F-766AB96ECEDB}"/>
              </a:ext>
            </a:extLst>
          </p:cNvPr>
          <p:cNvGraphicFramePr/>
          <p:nvPr>
            <p:extLst>
              <p:ext uri="{D42A27DB-BD31-4B8C-83A1-F6EECF244321}">
                <p14:modId xmlns:p14="http://schemas.microsoft.com/office/powerpoint/2010/main" val="373815968"/>
              </p:ext>
            </p:extLst>
          </p:nvPr>
        </p:nvGraphicFramePr>
        <p:xfrm>
          <a:off x="1380565" y="4303060"/>
          <a:ext cx="21730447" cy="78530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1881909104"/>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99E52BE-758C-2287-CC53-CB9FB0D4DC3C}"/>
              </a:ext>
            </a:extLst>
          </p:cNvPr>
          <p:cNvSpPr txBox="1"/>
          <p:nvPr/>
        </p:nvSpPr>
        <p:spPr>
          <a:xfrm>
            <a:off x="1109472" y="3107813"/>
            <a:ext cx="10177466"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uk-UA" sz="5400" dirty="0">
                <a:solidFill>
                  <a:srgbClr val="002060"/>
                </a:solidFill>
              </a:rPr>
              <a:t>Обґрунтування р</a:t>
            </a: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C7D7E59-FF20-31EF-3018-5A8BEC904F6E}"/>
              </a:ext>
            </a:extLst>
          </p:cNvPr>
          <p:cNvGraphicFramePr/>
          <p:nvPr>
            <p:extLst>
              <p:ext uri="{D42A27DB-BD31-4B8C-83A1-F6EECF244321}">
                <p14:modId xmlns:p14="http://schemas.microsoft.com/office/powerpoint/2010/main" val="658149888"/>
              </p:ext>
            </p:extLst>
          </p:nvPr>
        </p:nvGraphicFramePr>
        <p:xfrm>
          <a:off x="1109472" y="4320569"/>
          <a:ext cx="21929822" cy="86423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517847147"/>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1EB2219-C4E7-3EF2-B12B-62CF655E172D}"/>
              </a:ext>
            </a:extLst>
          </p:cNvPr>
          <p:cNvSpPr txBox="1"/>
          <p:nvPr/>
        </p:nvSpPr>
        <p:spPr>
          <a:xfrm>
            <a:off x="2567111" y="3320883"/>
            <a:ext cx="4744889"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Р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0AF77B1C-563B-0737-BA0C-8053C747A7CA}"/>
              </a:ext>
            </a:extLst>
          </p:cNvPr>
          <p:cNvGraphicFramePr/>
          <p:nvPr>
            <p:extLst>
              <p:ext uri="{D42A27DB-BD31-4B8C-83A1-F6EECF244321}">
                <p14:modId xmlns:p14="http://schemas.microsoft.com/office/powerpoint/2010/main" val="2644119789"/>
              </p:ext>
            </p:extLst>
          </p:nvPr>
        </p:nvGraphicFramePr>
        <p:xfrm>
          <a:off x="1541929" y="4533637"/>
          <a:ext cx="21461505" cy="85548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646161981"/>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EB8FCEB-F57B-3219-B55F-DBBBF8EAC40C}"/>
              </a:ext>
            </a:extLst>
          </p:cNvPr>
          <p:cNvSpPr txBox="1"/>
          <p:nvPr/>
        </p:nvSpPr>
        <p:spPr>
          <a:xfrm>
            <a:off x="1941860" y="2863683"/>
            <a:ext cx="10578353"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Огляд судової практики</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E758F79-2656-78D0-257F-766AB96ECEDB}"/>
              </a:ext>
            </a:extLst>
          </p:cNvPr>
          <p:cNvGraphicFramePr/>
          <p:nvPr>
            <p:extLst>
              <p:ext uri="{D42A27DB-BD31-4B8C-83A1-F6EECF244321}">
                <p14:modId xmlns:p14="http://schemas.microsoft.com/office/powerpoint/2010/main" val="2021599054"/>
              </p:ext>
            </p:extLst>
          </p:nvPr>
        </p:nvGraphicFramePr>
        <p:xfrm>
          <a:off x="1380565" y="4303060"/>
          <a:ext cx="21730447" cy="78530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1393999684"/>
      </p:ext>
    </p:extLst>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99E52BE-758C-2287-CC53-CB9FB0D4DC3C}"/>
              </a:ext>
            </a:extLst>
          </p:cNvPr>
          <p:cNvSpPr txBox="1"/>
          <p:nvPr/>
        </p:nvSpPr>
        <p:spPr>
          <a:xfrm>
            <a:off x="1104662" y="2752351"/>
            <a:ext cx="10177466"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uk-UA" sz="5400" dirty="0">
                <a:solidFill>
                  <a:srgbClr val="002060"/>
                </a:solidFill>
              </a:rPr>
              <a:t>Обґрунтування р</a:t>
            </a: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FC7D7E59-FF20-31EF-3018-5A8BEC904F6E}"/>
              </a:ext>
            </a:extLst>
          </p:cNvPr>
          <p:cNvGraphicFramePr/>
          <p:nvPr>
            <p:extLst>
              <p:ext uri="{D42A27DB-BD31-4B8C-83A1-F6EECF244321}">
                <p14:modId xmlns:p14="http://schemas.microsoft.com/office/powerpoint/2010/main" val="3552197537"/>
              </p:ext>
            </p:extLst>
          </p:nvPr>
        </p:nvGraphicFramePr>
        <p:xfrm>
          <a:off x="878540" y="3775588"/>
          <a:ext cx="23075153" cy="94805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3971445365"/>
      </p:ext>
    </p:extLst>
  </p:cSld>
  <p:clrMapOvr>
    <a:masterClrMapping/>
  </p:clrMapOvr>
  <p:transition spd="med"/>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uk-UA" sz="4400" b="1" dirty="0">
              <a:solidFill>
                <a:schemeClr val="accent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1EB2219-C4E7-3EF2-B12B-62CF655E172D}"/>
              </a:ext>
            </a:extLst>
          </p:cNvPr>
          <p:cNvSpPr txBox="1"/>
          <p:nvPr/>
        </p:nvSpPr>
        <p:spPr>
          <a:xfrm>
            <a:off x="2567111" y="3320883"/>
            <a:ext cx="4744889"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uk-UA" sz="5400" b="1" i="0" u="none" strike="noStrike" cap="none" spc="0" normalizeH="0" baseline="0" dirty="0">
                <a:ln>
                  <a:noFill/>
                </a:ln>
                <a:solidFill>
                  <a:srgbClr val="002060"/>
                </a:solidFill>
                <a:effectLst/>
                <a:uFillTx/>
                <a:latin typeface="Helvetica Neue"/>
                <a:ea typeface="Helvetica Neue"/>
                <a:cs typeface="Helvetica Neue"/>
                <a:sym typeface="Helvetica Neue"/>
              </a:rPr>
              <a:t>Рішення суду</a:t>
            </a:r>
            <a:endParaRPr kumimoji="0" lang="ru-UA" sz="5400" b="1" i="0" u="none" strike="noStrike" cap="none" spc="0" normalizeH="0" baseline="0" dirty="0">
              <a:ln>
                <a:noFill/>
              </a:ln>
              <a:solidFill>
                <a:srgbClr val="002060"/>
              </a:solidFill>
              <a:effectLst/>
              <a:uFillTx/>
              <a:latin typeface="Helvetica Neue"/>
              <a:ea typeface="Helvetica Neue"/>
              <a:cs typeface="Helvetica Neue"/>
              <a:sym typeface="Helvetica Neue"/>
            </a:endParaRPr>
          </a:p>
        </p:txBody>
      </p:sp>
      <p:graphicFrame>
        <p:nvGraphicFramePr>
          <p:cNvPr id="4" name="Схема 3">
            <a:extLst>
              <a:ext uri="{FF2B5EF4-FFF2-40B4-BE49-F238E27FC236}">
                <a16:creationId xmlns:a16="http://schemas.microsoft.com/office/drawing/2014/main" id="{0AF77B1C-563B-0737-BA0C-8053C747A7CA}"/>
              </a:ext>
            </a:extLst>
          </p:cNvPr>
          <p:cNvGraphicFramePr/>
          <p:nvPr>
            <p:extLst>
              <p:ext uri="{D42A27DB-BD31-4B8C-83A1-F6EECF244321}">
                <p14:modId xmlns:p14="http://schemas.microsoft.com/office/powerpoint/2010/main" val="541704957"/>
              </p:ext>
            </p:extLst>
          </p:nvPr>
        </p:nvGraphicFramePr>
        <p:xfrm>
          <a:off x="1541929" y="4533637"/>
          <a:ext cx="21461505" cy="85548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966277705"/>
      </p:ext>
    </p:extLst>
  </p:cSld>
  <p:clrMapOvr>
    <a:masterClrMapping/>
  </p:clrMapOvr>
  <p:transition spd="med"/>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6858000"/>
            <a:ext cx="19545399" cy="1980180"/>
          </a:xfrm>
        </p:spPr>
        <p:txBody>
          <a:bodyPr>
            <a:normAutofit fontScale="90000"/>
          </a:bodyPr>
          <a:lstStyle/>
          <a:p>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accent1">
                    <a:lumMod val="50000"/>
                  </a:schemeClr>
                </a:solidFill>
                <a:latin typeface="Arial" panose="020B0604020202020204" pitchFamily="34" charset="0"/>
                <a:cs typeface="Arial" panose="020B0604020202020204" pitchFamily="34" charset="0"/>
              </a:rPr>
              <a:t>Дякую за увагу!</a:t>
            </a:r>
            <a:endParaRPr lang="en-US" sz="4400" b="1" dirty="0">
              <a:solidFill>
                <a:schemeClr val="accent1">
                  <a:lumMod val="50000"/>
                </a:schemeClr>
              </a:solidFill>
              <a:latin typeface="Arial" panose="020B0604020202020204" pitchFamily="34" charset="0"/>
              <a:cs typeface="Arial" panose="020B0604020202020204" pitchFamily="34" charset="0"/>
            </a:endParaRPr>
          </a:p>
        </p:txBody>
      </p:sp>
      <p:pic>
        <p:nvPicPr>
          <p:cNvPr id="5" name="Picture 9">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1516436225"/>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263788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6000" dirty="0">
                <a:solidFill>
                  <a:schemeClr val="accent1">
                    <a:lumMod val="50000"/>
                  </a:schemeClr>
                </a:solidFill>
                <a:latin typeface="Arial" panose="020B0604020202020204" pitchFamily="34" charset="0"/>
                <a:cs typeface="Arial" panose="020B0604020202020204" pitchFamily="34" charset="0"/>
              </a:rPr>
              <a:t>Нюанси оплати праці – роз’яснення </a:t>
            </a:r>
            <a:r>
              <a:rPr lang="uk-UA" sz="6000" dirty="0" err="1">
                <a:solidFill>
                  <a:schemeClr val="accent1">
                    <a:lumMod val="50000"/>
                  </a:schemeClr>
                </a:solidFill>
                <a:latin typeface="Arial" panose="020B0604020202020204" pitchFamily="34" charset="0"/>
                <a:cs typeface="Arial" panose="020B0604020202020204" pitchFamily="34" charset="0"/>
              </a:rPr>
              <a:t>Держпраці</a:t>
            </a:r>
            <a:endParaRPr lang="uk-UA" sz="60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2DB4A73-EA56-7100-3D4C-4F953181CA6A}"/>
              </a:ext>
            </a:extLst>
          </p:cNvPr>
          <p:cNvGraphicFramePr/>
          <p:nvPr>
            <p:extLst>
              <p:ext uri="{D42A27DB-BD31-4B8C-83A1-F6EECF244321}">
                <p14:modId xmlns:p14="http://schemas.microsoft.com/office/powerpoint/2010/main" val="241332978"/>
              </p:ext>
            </p:extLst>
          </p:nvPr>
        </p:nvGraphicFramePr>
        <p:xfrm>
          <a:off x="1506071" y="5002306"/>
          <a:ext cx="22172481" cy="693868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438213725"/>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3035250"/>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Гнучкий режим роботи</a:t>
            </a:r>
            <a:endParaRPr lang="uk-UA" sz="44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2DB4A73-EA56-7100-3D4C-4F953181CA6A}"/>
              </a:ext>
            </a:extLst>
          </p:cNvPr>
          <p:cNvGraphicFramePr/>
          <p:nvPr>
            <p:extLst>
              <p:ext uri="{D42A27DB-BD31-4B8C-83A1-F6EECF244321}">
                <p14:modId xmlns:p14="http://schemas.microsoft.com/office/powerpoint/2010/main" val="1201026164"/>
              </p:ext>
            </p:extLst>
          </p:nvPr>
        </p:nvGraphicFramePr>
        <p:xfrm>
          <a:off x="2169459" y="5460539"/>
          <a:ext cx="20905693" cy="660595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406332655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263788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Гнучкий режим роботи</a:t>
            </a:r>
            <a:endParaRPr lang="uk-UA" sz="44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2DB4A73-EA56-7100-3D4C-4F953181CA6A}"/>
              </a:ext>
            </a:extLst>
          </p:cNvPr>
          <p:cNvGraphicFramePr/>
          <p:nvPr>
            <p:extLst>
              <p:ext uri="{D42A27DB-BD31-4B8C-83A1-F6EECF244321}">
                <p14:modId xmlns:p14="http://schemas.microsoft.com/office/powerpoint/2010/main" val="3303694110"/>
              </p:ext>
            </p:extLst>
          </p:nvPr>
        </p:nvGraphicFramePr>
        <p:xfrm>
          <a:off x="1506071" y="2133600"/>
          <a:ext cx="21569081" cy="111225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777516486"/>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2637883"/>
            <a:ext cx="19545399" cy="1980180"/>
          </a:xfrm>
        </p:spPr>
        <p:txBody>
          <a:bodyPr>
            <a:normAutofit fontScale="90000"/>
          </a:bodyPr>
          <a:lstStyle/>
          <a:p>
            <a:pPr algn="l"/>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Гнучкий режим роботи</a:t>
            </a:r>
            <a:endParaRPr lang="uk-UA" sz="44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Схема 2">
            <a:extLst>
              <a:ext uri="{FF2B5EF4-FFF2-40B4-BE49-F238E27FC236}">
                <a16:creationId xmlns:a16="http://schemas.microsoft.com/office/drawing/2014/main" id="{42DB4A73-EA56-7100-3D4C-4F953181CA6A}"/>
              </a:ext>
            </a:extLst>
          </p:cNvPr>
          <p:cNvGraphicFramePr/>
          <p:nvPr>
            <p:extLst>
              <p:ext uri="{D42A27DB-BD31-4B8C-83A1-F6EECF244321}">
                <p14:modId xmlns:p14="http://schemas.microsoft.com/office/powerpoint/2010/main" val="1923470344"/>
              </p:ext>
            </p:extLst>
          </p:nvPr>
        </p:nvGraphicFramePr>
        <p:xfrm>
          <a:off x="1506071" y="2133600"/>
          <a:ext cx="21569081" cy="111225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153179342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747514" y="2117723"/>
            <a:ext cx="19545399" cy="1980180"/>
          </a:xfrm>
        </p:spPr>
        <p:txBody>
          <a:bodyPr>
            <a:normAutofit/>
          </a:bodyPr>
          <a:lstStyle/>
          <a:p>
            <a:pPr algn="ctr"/>
            <a:r>
              <a:rPr lang="uk-UA" sz="6600" b="1" i="0" dirty="0">
                <a:solidFill>
                  <a:srgbClr val="0070C0"/>
                </a:solidFill>
                <a:effectLst/>
                <a:latin typeface="-apple-system"/>
              </a:rPr>
              <a:t>Скорочення працівників під час реорганізації</a:t>
            </a:r>
          </a:p>
        </p:txBody>
      </p:sp>
      <p:graphicFrame>
        <p:nvGraphicFramePr>
          <p:cNvPr id="3" name="Схема 2">
            <a:extLst>
              <a:ext uri="{FF2B5EF4-FFF2-40B4-BE49-F238E27FC236}">
                <a16:creationId xmlns:a16="http://schemas.microsoft.com/office/drawing/2014/main" id="{4A2FC69B-3A72-C14C-B871-F5C9CF2BF6EE}"/>
              </a:ext>
            </a:extLst>
          </p:cNvPr>
          <p:cNvGraphicFramePr/>
          <p:nvPr>
            <p:extLst>
              <p:ext uri="{D42A27DB-BD31-4B8C-83A1-F6EECF244321}">
                <p14:modId xmlns:p14="http://schemas.microsoft.com/office/powerpoint/2010/main" val="1988821156"/>
              </p:ext>
            </p:extLst>
          </p:nvPr>
        </p:nvGraphicFramePr>
        <p:xfrm>
          <a:off x="1792941" y="4572000"/>
          <a:ext cx="20887765" cy="770466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9">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43441" y="214512"/>
            <a:ext cx="6348553" cy="3175618"/>
          </a:xfrm>
          <a:prstGeom prst="rect">
            <a:avLst/>
          </a:prstGeom>
        </p:spPr>
      </p:pic>
    </p:spTree>
    <p:extLst>
      <p:ext uri="{BB962C8B-B14F-4D97-AF65-F5344CB8AC3E}">
        <p14:creationId xmlns:p14="http://schemas.microsoft.com/office/powerpoint/2010/main" val="14302364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x2116_ xmlns="303901ef-6a22-4e55-9c80-e90043720da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7E52C018618B41A7229444032E1263" ma:contentTypeVersion="16" ma:contentTypeDescription="Create a new document." ma:contentTypeScope="" ma:versionID="102dde26d99944ab261690ad3f791513">
  <xsd:schema xmlns:xsd="http://www.w3.org/2001/XMLSchema" xmlns:xs="http://www.w3.org/2001/XMLSchema" xmlns:p="http://schemas.microsoft.com/office/2006/metadata/properties" xmlns:ns2="d41abd27-83e6-4a63-9017-5368a0c1b478" xmlns:ns3="303901ef-6a22-4e55-9c80-e90043720daf" targetNamespace="http://schemas.microsoft.com/office/2006/metadata/properties" ma:root="true" ma:fieldsID="a63769dce104decd316b0cf31f568236" ns2:_="" ns3:_="">
    <xsd:import namespace="d41abd27-83e6-4a63-9017-5368a0c1b478"/>
    <xsd:import namespace="303901ef-6a22-4e55-9c80-e90043720daf"/>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_x2116_"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1abd27-83e6-4a63-9017-5368a0c1b47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03901ef-6a22-4e55-9c80-e90043720daf" elementFormDefault="qualified">
    <xsd:import namespace="http://schemas.microsoft.com/office/2006/documentManagement/types"/>
    <xsd:import namespace="http://schemas.microsoft.com/office/infopath/2007/PartnerControls"/>
    <xsd:element name="_x2116_" ma:index="12" nillable="true" ma:displayName="№" ma:internalName="_x2116_">
      <xsd:simpleType>
        <xsd:restriction base="dms:Number"/>
      </xsd:simpleType>
    </xsd:element>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descrip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0FB350B-5BB0-4149-AACA-FF592CEEF01C}">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303901ef-6a22-4e55-9c80-e90043720daf"/>
    <ds:schemaRef ds:uri="d41abd27-83e6-4a63-9017-5368a0c1b478"/>
    <ds:schemaRef ds:uri="http://www.w3.org/XML/1998/namespace"/>
  </ds:schemaRefs>
</ds:datastoreItem>
</file>

<file path=customXml/itemProps2.xml><?xml version="1.0" encoding="utf-8"?>
<ds:datastoreItem xmlns:ds="http://schemas.openxmlformats.org/officeDocument/2006/customXml" ds:itemID="{22B248B6-A383-49D4-806B-B1E13D3D5BC6}">
  <ds:schemaRefs>
    <ds:schemaRef ds:uri="http://schemas.microsoft.com/sharepoint/v3/contenttype/forms"/>
  </ds:schemaRefs>
</ds:datastoreItem>
</file>

<file path=customXml/itemProps3.xml><?xml version="1.0" encoding="utf-8"?>
<ds:datastoreItem xmlns:ds="http://schemas.openxmlformats.org/officeDocument/2006/customXml" ds:itemID="{8D55BDF1-BD1B-4DAA-82B7-E05EB9E795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1abd27-83e6-4a63-9017-5368a0c1b478"/>
    <ds:schemaRef ds:uri="303901ef-6a22-4e55-9c80-e90043720d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733</TotalTime>
  <Words>3735</Words>
  <Application>Microsoft Office PowerPoint</Application>
  <PresentationFormat>Произвольный</PresentationFormat>
  <Paragraphs>258</Paragraphs>
  <Slides>48</Slides>
  <Notes>1</Notes>
  <HiddenSlides>0</HiddenSlides>
  <MMClips>0</MMClips>
  <ScaleCrop>false</ScaleCrop>
  <HeadingPairs>
    <vt:vector size="8" baseType="variant">
      <vt:variant>
        <vt:lpstr>Использованные шрифты</vt:lpstr>
      </vt:variant>
      <vt:variant>
        <vt:i4>9</vt:i4>
      </vt:variant>
      <vt:variant>
        <vt:lpstr>Тема</vt:lpstr>
      </vt:variant>
      <vt:variant>
        <vt:i4>2</vt:i4>
      </vt:variant>
      <vt:variant>
        <vt:lpstr>Внедренные серверы OLE</vt:lpstr>
      </vt:variant>
      <vt:variant>
        <vt:i4>1</vt:i4>
      </vt:variant>
      <vt:variant>
        <vt:lpstr>Заголовки слайдов</vt:lpstr>
      </vt:variant>
      <vt:variant>
        <vt:i4>48</vt:i4>
      </vt:variant>
    </vt:vector>
  </HeadingPairs>
  <TitlesOfParts>
    <vt:vector size="60" baseType="lpstr">
      <vt:lpstr>-apple-system</vt:lpstr>
      <vt:lpstr>Arial</vt:lpstr>
      <vt:lpstr>Arial Black</vt:lpstr>
      <vt:lpstr>Calibri</vt:lpstr>
      <vt:lpstr>Calibri Light</vt:lpstr>
      <vt:lpstr>Helvetica Neue</vt:lpstr>
      <vt:lpstr>Helvetica Neue Light</vt:lpstr>
      <vt:lpstr>Helvetica Neue Medium</vt:lpstr>
      <vt:lpstr>Times New Roman</vt:lpstr>
      <vt:lpstr>White</vt:lpstr>
      <vt:lpstr>Office Theme</vt:lpstr>
      <vt:lpstr>think-cell Slide</vt:lpstr>
      <vt:lpstr> </vt:lpstr>
      <vt:lpstr>    Робота з нефіксованим робочим часом</vt:lpstr>
      <vt:lpstr>    Складові договору</vt:lpstr>
      <vt:lpstr>    Складові договору</vt:lpstr>
      <vt:lpstr>    Нюанси оплати праці – роз’яснення Держпраці</vt:lpstr>
      <vt:lpstr>    Гнучкий режим роботи</vt:lpstr>
      <vt:lpstr>    Гнучкий режим роботи</vt:lpstr>
      <vt:lpstr>    Гнучкий режим роботи</vt:lpstr>
      <vt:lpstr>Скорочення працівників під час реорганізації</vt:lpstr>
      <vt:lpstr>    Випробування ВПО при прийомі на роботу</vt:lpstr>
      <vt:lpstr>    Атестація медпрацівників під час воєнного стану</vt:lpstr>
      <vt:lpstr>Повідомлення про наявність шкідливих умов праці</vt:lpstr>
      <vt:lpstr>    Стаття 41 КЗпП</vt:lpstr>
      <vt:lpstr>    Відпустки педагогам (працівникам та керівникам)</vt:lpstr>
      <vt:lpstr>    Відпустки педагогам (працівникам та керівникам)</vt:lpstr>
      <vt:lpstr>    Відпустки педагогам (працівникам та керівникам)</vt:lpstr>
      <vt:lpstr>    Лист МОН від 22.06.2022</vt:lpstr>
      <vt:lpstr>    Лист МОН від 22.06.2022</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Дякую за увагу!</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Концепція  Zero Waste Event</dc:title>
  <dc:creator>Oleksandr Muratov</dc:creator>
  <cp:lastModifiedBy>userMB</cp:lastModifiedBy>
  <cp:revision>564</cp:revision>
  <dcterms:modified xsi:type="dcterms:W3CDTF">2022-09-19T09:5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E52C018618B41A7229444032E1263</vt:lpwstr>
  </property>
</Properties>
</file>